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664" r:id="rId1"/>
    <p:sldMasterId id="2147487145" r:id="rId2"/>
  </p:sldMasterIdLst>
  <p:notesMasterIdLst>
    <p:notesMasterId r:id="rId11"/>
  </p:notesMasterIdLst>
  <p:handoutMasterIdLst>
    <p:handoutMasterId r:id="rId12"/>
  </p:handoutMasterIdLst>
  <p:sldIdLst>
    <p:sldId id="1794" r:id="rId3"/>
    <p:sldId id="1793" r:id="rId4"/>
    <p:sldId id="1729" r:id="rId5"/>
    <p:sldId id="1787" r:id="rId6"/>
    <p:sldId id="1788" r:id="rId7"/>
    <p:sldId id="1789" r:id="rId8"/>
    <p:sldId id="1790" r:id="rId9"/>
    <p:sldId id="1791" r:id="rId10"/>
  </p:sldIdLst>
  <p:sldSz cx="12192000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nalyst presentation" id="{7216FF1F-75FA-4229-A4B8-D1CA6A7A4411}">
          <p14:sldIdLst>
            <p14:sldId id="1794"/>
            <p14:sldId id="1793"/>
            <p14:sldId id="1729"/>
            <p14:sldId id="1787"/>
            <p14:sldId id="1788"/>
            <p14:sldId id="1789"/>
            <p14:sldId id="1790"/>
            <p14:sldId id="1791"/>
          </p14:sldIdLst>
        </p14:section>
        <p14:section name="Appendix" id="{D6C85C9C-C590-4AA7-BE17-F478E6DA12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341" userDrawn="1">
          <p15:clr>
            <a:srgbClr val="A4A3A4"/>
          </p15:clr>
        </p15:guide>
        <p15:guide id="4" orient="horz" pos="3612" userDrawn="1">
          <p15:clr>
            <a:srgbClr val="A4A3A4"/>
          </p15:clr>
        </p15:guide>
        <p15:guide id="5" pos="7408" userDrawn="1">
          <p15:clr>
            <a:srgbClr val="A4A3A4"/>
          </p15:clr>
        </p15:guide>
        <p15:guide id="6" pos="3659" userDrawn="1">
          <p15:clr>
            <a:srgbClr val="A4A3A4"/>
          </p15:clr>
        </p15:guide>
        <p15:guide id="7" pos="272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4021" userDrawn="1">
          <p15:clr>
            <a:srgbClr val="A4A3A4"/>
          </p15:clr>
        </p15:guide>
        <p15:guide id="10" orient="horz" pos="890" userDrawn="1">
          <p15:clr>
            <a:srgbClr val="A4A3A4"/>
          </p15:clr>
        </p15:guide>
        <p15:guide id="11" orient="horz" pos="3566" userDrawn="1">
          <p15:clr>
            <a:srgbClr val="A4A3A4"/>
          </p15:clr>
        </p15:guide>
        <p15:guide id="12" pos="2752" userDrawn="1">
          <p15:clr>
            <a:srgbClr val="A4A3A4"/>
          </p15:clr>
        </p15:guide>
        <p15:guide id="13" orient="horz" pos="3748" userDrawn="1">
          <p15:clr>
            <a:srgbClr val="A4A3A4"/>
          </p15:clr>
        </p15:guide>
        <p15:guide id="14" orient="horz" pos="8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438" userDrawn="1">
          <p15:clr>
            <a:srgbClr val="A4A3A4"/>
          </p15:clr>
        </p15:guide>
        <p15:guide id="2" pos="2164" userDrawn="1">
          <p15:clr>
            <a:srgbClr val="A4A3A4"/>
          </p15:clr>
        </p15:guide>
        <p15:guide id="3" orient="horz" pos="3223" userDrawn="1">
          <p15:clr>
            <a:srgbClr val="A4A3A4"/>
          </p15:clr>
        </p15:guide>
        <p15:guide id="4" pos="2237" userDrawn="1">
          <p15:clr>
            <a:srgbClr val="A4A3A4"/>
          </p15:clr>
        </p15:guide>
        <p15:guide id="5" orient="horz" pos="3340" userDrawn="1">
          <p15:clr>
            <a:srgbClr val="A4A3A4"/>
          </p15:clr>
        </p15:guide>
        <p15:guide id="6" orient="horz" pos="3132" userDrawn="1">
          <p15:clr>
            <a:srgbClr val="A4A3A4"/>
          </p15:clr>
        </p15:guide>
        <p15:guide id="7" pos="2074" userDrawn="1">
          <p15:clr>
            <a:srgbClr val="A4A3A4"/>
          </p15:clr>
        </p15:guide>
        <p15:guide id="8" pos="2144" userDrawn="1">
          <p15:clr>
            <a:srgbClr val="A4A3A4"/>
          </p15:clr>
        </p15:guide>
        <p15:guide id="9" orient="horz" pos="3432" userDrawn="1">
          <p15:clr>
            <a:srgbClr val="A4A3A4"/>
          </p15:clr>
        </p15:guide>
        <p15:guide id="10" orient="horz" pos="3217" userDrawn="1">
          <p15:clr>
            <a:srgbClr val="A4A3A4"/>
          </p15:clr>
        </p15:guide>
        <p15:guide id="11" orient="horz" pos="3334" userDrawn="1">
          <p15:clr>
            <a:srgbClr val="A4A3A4"/>
          </p15:clr>
        </p15:guide>
        <p15:guide id="12" orient="horz" pos="3126" userDrawn="1">
          <p15:clr>
            <a:srgbClr val="A4A3A4"/>
          </p15:clr>
        </p15:guide>
        <p15:guide id="13" pos="2161" userDrawn="1">
          <p15:clr>
            <a:srgbClr val="A4A3A4"/>
          </p15:clr>
        </p15:guide>
        <p15:guide id="14" pos="2234" userDrawn="1">
          <p15:clr>
            <a:srgbClr val="A4A3A4"/>
          </p15:clr>
        </p15:guide>
        <p15:guide id="15" pos="2072" userDrawn="1">
          <p15:clr>
            <a:srgbClr val="A4A3A4"/>
          </p15:clr>
        </p15:guide>
        <p15:guide id="16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rský Pavel" initials="HP" lastIdx="4" clrIdx="0"/>
  <p:cmAuthor id="1" name="Onderek David" initials="OD" lastIdx="6" clrIdx="1"/>
  <p:cmAuthor id="2" name="Kása Szilárd" initials="KS" lastIdx="8" clrIdx="2"/>
  <p:cmAuthor id="3" name="Broškovič Michal" initials="BM" lastIdx="1" clrIdx="3">
    <p:extLst>
      <p:ext uri="{19B8F6BF-5375-455C-9EA6-DF929625EA0E}">
        <p15:presenceInfo xmlns:p15="http://schemas.microsoft.com/office/powerpoint/2012/main" userId="S-1-5-21-3397493736-2519729931-3117639733-179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BE7E8"/>
    <a:srgbClr val="969696"/>
    <a:srgbClr val="A00730"/>
    <a:srgbClr val="71152D"/>
    <a:srgbClr val="D5CCCD"/>
    <a:srgbClr val="B1B5B5"/>
    <a:srgbClr val="595959"/>
    <a:srgbClr val="3A3D3D"/>
    <a:srgbClr val="747B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Stredný štýl 2 - zvýrazneni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Stredný štýl 4 - zvýrazneni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0A15C55-8517-42AA-B614-E9B94910E393}" styleName="Stredný štýl 2 - zvýrazneni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61" autoAdjust="0"/>
    <p:restoredTop sz="88000" autoAdjust="0"/>
  </p:normalViewPr>
  <p:slideViewPr>
    <p:cSldViewPr showGuides="1">
      <p:cViewPr>
        <p:scale>
          <a:sx n="60" d="100"/>
          <a:sy n="60" d="100"/>
        </p:scale>
        <p:origin x="1488" y="612"/>
      </p:cViewPr>
      <p:guideLst>
        <p:guide orient="horz" pos="754"/>
        <p:guide orient="horz" pos="2160"/>
        <p:guide orient="horz" pos="2341"/>
        <p:guide orient="horz" pos="3612"/>
        <p:guide pos="7408"/>
        <p:guide pos="3659"/>
        <p:guide pos="272"/>
        <p:guide pos="3840"/>
        <p:guide pos="4021"/>
        <p:guide orient="horz" pos="890"/>
        <p:guide orient="horz" pos="3566"/>
        <p:guide pos="2752"/>
        <p:guide orient="horz" pos="3748"/>
        <p:guide orient="horz" pos="845"/>
      </p:guideLst>
    </p:cSldViewPr>
  </p:slideViewPr>
  <p:outlineViewPr>
    <p:cViewPr>
      <p:scale>
        <a:sx n="33" d="100"/>
        <a:sy n="33" d="100"/>
      </p:scale>
      <p:origin x="60" y="3192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3270" y="-84"/>
      </p:cViewPr>
      <p:guideLst>
        <p:guide orient="horz" pos="3438"/>
        <p:guide pos="2164"/>
        <p:guide orient="horz" pos="3223"/>
        <p:guide pos="2237"/>
        <p:guide orient="horz" pos="3340"/>
        <p:guide orient="horz" pos="3132"/>
        <p:guide pos="2074"/>
        <p:guide pos="2144"/>
        <p:guide orient="horz" pos="3432"/>
        <p:guide orient="horz" pos="3217"/>
        <p:guide orient="horz" pos="3334"/>
        <p:guide orient="horz" pos="3126"/>
        <p:guide pos="2161"/>
        <p:guide pos="2234"/>
        <p:guide pos="2072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S%20Obchod\GPE%20vs%20Price%20vs%20Rev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S%20Obchod\GPE%20vs%20Price%20vs%20Rev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S%20Obchod\GPE%20vs%20Price%20vs%20Rev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S%20Obchod\GPE%20vs%20Price%20vs%20Rev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GB%202022\LNG%20PAVUK%202022\EUGB%20deficit%202022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Osobne_data\STRATEGIA%202.0\2022\EUGB%202022\LNG%20PAVUK%202022\EUGB%20deficit%202022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525"/>
            <c:marker>
              <c:symbol val="circle"/>
              <c:size val="8"/>
              <c:spPr>
                <a:solidFill>
                  <a:srgbClr val="C00000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47C-4FFE-9F24-D1D2E5659090}"/>
              </c:ext>
            </c:extLst>
          </c:dPt>
          <c:xVal>
            <c:numRef>
              <c:f>Hárok1!$AZ$5:$AZ$535</c:f>
              <c:numCache>
                <c:formatCode>General</c:formatCode>
                <c:ptCount val="5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</c:numCache>
            </c:numRef>
          </c:xVal>
          <c:yVal>
            <c:numRef>
              <c:f>Hárok1!$BB$5:$BB$535</c:f>
              <c:numCache>
                <c:formatCode>_(* #,##0.0_);_(* \(#,##0.0\);_(* "-"??_);_(@_)</c:formatCode>
                <c:ptCount val="531"/>
                <c:pt idx="0">
                  <c:v>0</c:v>
                </c:pt>
                <c:pt idx="1">
                  <c:v>5.2413269033718413</c:v>
                </c:pt>
                <c:pt idx="2">
                  <c:v>10.428276578513087</c:v>
                </c:pt>
                <c:pt idx="3">
                  <c:v>15.561105995811134</c:v>
                </c:pt>
                <c:pt idx="4">
                  <c:v>20.640072125653376</c:v>
                </c:pt>
                <c:pt idx="5">
                  <c:v>25.665431938427226</c:v>
                </c:pt>
                <c:pt idx="6">
                  <c:v>30.637442404520062</c:v>
                </c:pt>
                <c:pt idx="7">
                  <c:v>35.556360494319293</c:v>
                </c:pt>
                <c:pt idx="8">
                  <c:v>40.422443178212312</c:v>
                </c:pt>
                <c:pt idx="9">
                  <c:v>45.235947426586527</c:v>
                </c:pt>
                <c:pt idx="10">
                  <c:v>49.997130209829336</c:v>
                </c:pt>
                <c:pt idx="11">
                  <c:v>54.706248498328122</c:v>
                </c:pt>
                <c:pt idx="12">
                  <c:v>59.363559262470297</c:v>
                </c:pt>
                <c:pt idx="13">
                  <c:v>63.969319472643249</c:v>
                </c:pt>
                <c:pt idx="14">
                  <c:v>68.523786099234371</c:v>
                </c:pt>
                <c:pt idx="15">
                  <c:v>73.027216112631095</c:v>
                </c:pt>
                <c:pt idx="16">
                  <c:v>77.479866483220775</c:v>
                </c:pt>
                <c:pt idx="17">
                  <c:v>81.881994181390837</c:v>
                </c:pt>
                <c:pt idx="18">
                  <c:v>86.233856177528679</c:v>
                </c:pt>
                <c:pt idx="19">
                  <c:v>90.535709442021684</c:v>
                </c:pt>
                <c:pt idx="20">
                  <c:v>94.787810945257277</c:v>
                </c:pt>
                <c:pt idx="21">
                  <c:v>98.990417657622828</c:v>
                </c:pt>
                <c:pt idx="22">
                  <c:v>103.14378654950573</c:v>
                </c:pt>
                <c:pt idx="23">
                  <c:v>107.24817459129341</c:v>
                </c:pt>
                <c:pt idx="24">
                  <c:v>111.30383875337324</c:v>
                </c:pt>
                <c:pt idx="25">
                  <c:v>115.31103600613262</c:v>
                </c:pt>
                <c:pt idx="26">
                  <c:v>119.27002331995898</c:v>
                </c:pt>
                <c:pt idx="27">
                  <c:v>123.18105766523971</c:v>
                </c:pt>
                <c:pt idx="28">
                  <c:v>127.04439601236213</c:v>
                </c:pt>
                <c:pt idx="29">
                  <c:v>130.86029533171376</c:v>
                </c:pt>
                <c:pt idx="30">
                  <c:v>134.62901259368192</c:v>
                </c:pt>
                <c:pt idx="31">
                  <c:v>138.35080476865403</c:v>
                </c:pt>
                <c:pt idx="32">
                  <c:v>142.02592882701748</c:v>
                </c:pt>
                <c:pt idx="33">
                  <c:v>145.6546417391597</c:v>
                </c:pt>
                <c:pt idx="34">
                  <c:v>149.237200475468</c:v>
                </c:pt>
                <c:pt idx="35">
                  <c:v>152.77386200632992</c:v>
                </c:pt>
                <c:pt idx="36">
                  <c:v>156.26488330213272</c:v>
                </c:pt>
                <c:pt idx="37">
                  <c:v>159.71052133326387</c:v>
                </c:pt>
                <c:pt idx="38">
                  <c:v>163.11103307011078</c:v>
                </c:pt>
                <c:pt idx="39">
                  <c:v>166.46667548306081</c:v>
                </c:pt>
                <c:pt idx="40">
                  <c:v>169.77770554250139</c:v>
                </c:pt>
                <c:pt idx="41">
                  <c:v>173.04438021881987</c:v>
                </c:pt>
                <c:pt idx="42">
                  <c:v>176.26695648240369</c:v>
                </c:pt>
                <c:pt idx="43">
                  <c:v>179.44569130364022</c:v>
                </c:pt>
                <c:pt idx="44">
                  <c:v>182.58084165291689</c:v>
                </c:pt>
                <c:pt idx="45">
                  <c:v>185.67266450062104</c:v>
                </c:pt>
                <c:pt idx="46">
                  <c:v>188.72141681714015</c:v>
                </c:pt>
                <c:pt idx="47">
                  <c:v>191.72735557286157</c:v>
                </c:pt>
                <c:pt idx="48">
                  <c:v>194.69073773817274</c:v>
                </c:pt>
                <c:pt idx="49">
                  <c:v>197.61182028346096</c:v>
                </c:pt>
                <c:pt idx="50">
                  <c:v>200.49086017911375</c:v>
                </c:pt>
                <c:pt idx="51">
                  <c:v>203.32811439551841</c:v>
                </c:pt>
                <c:pt idx="52">
                  <c:v>206.12383990306239</c:v>
                </c:pt>
                <c:pt idx="53">
                  <c:v>208.87829367213308</c:v>
                </c:pt>
                <c:pt idx="54">
                  <c:v>211.59173267311789</c:v>
                </c:pt>
                <c:pt idx="55">
                  <c:v>214.26441387640418</c:v>
                </c:pt>
                <c:pt idx="56">
                  <c:v>216.89659425237937</c:v>
                </c:pt>
                <c:pt idx="57">
                  <c:v>219.48853077143087</c:v>
                </c:pt>
                <c:pt idx="58">
                  <c:v>222.04048040394605</c:v>
                </c:pt>
                <c:pt idx="59">
                  <c:v>224.55270012031235</c:v>
                </c:pt>
                <c:pt idx="60">
                  <c:v>227.0254468909171</c:v>
                </c:pt>
                <c:pt idx="61">
                  <c:v>229.45897768614773</c:v>
                </c:pt>
                <c:pt idx="62">
                  <c:v>231.85354947639172</c:v>
                </c:pt>
                <c:pt idx="63">
                  <c:v>234.20941923203637</c:v>
                </c:pt>
                <c:pt idx="64">
                  <c:v>236.52684392346913</c:v>
                </c:pt>
                <c:pt idx="65">
                  <c:v>238.80608052107735</c:v>
                </c:pt>
                <c:pt idx="66">
                  <c:v>241.04738599524845</c:v>
                </c:pt>
                <c:pt idx="67">
                  <c:v>243.25101731636983</c:v>
                </c:pt>
                <c:pt idx="68">
                  <c:v>245.41723145482882</c:v>
                </c:pt>
                <c:pt idx="69">
                  <c:v>247.54628538101295</c:v>
                </c:pt>
                <c:pt idx="70">
                  <c:v>249.63843606530958</c:v>
                </c:pt>
                <c:pt idx="71">
                  <c:v>251.6939404781061</c:v>
                </c:pt>
                <c:pt idx="72">
                  <c:v>253.71305558978978</c:v>
                </c:pt>
                <c:pt idx="73">
                  <c:v>255.69603837074825</c:v>
                </c:pt>
                <c:pt idx="74">
                  <c:v>257.64314579136874</c:v>
                </c:pt>
                <c:pt idx="75">
                  <c:v>259.55463482203862</c:v>
                </c:pt>
                <c:pt idx="76">
                  <c:v>261.43076243314545</c:v>
                </c:pt>
                <c:pt idx="77">
                  <c:v>263.27178559507655</c:v>
                </c:pt>
                <c:pt idx="78">
                  <c:v>265.07796127821922</c:v>
                </c:pt>
                <c:pt idx="79">
                  <c:v>266.84954645296108</c:v>
                </c:pt>
                <c:pt idx="80">
                  <c:v>268.5867980896893</c:v>
                </c:pt>
                <c:pt idx="81">
                  <c:v>270.28997315879133</c:v>
                </c:pt>
                <c:pt idx="82">
                  <c:v>271.95932863065468</c:v>
                </c:pt>
                <c:pt idx="83">
                  <c:v>273.5951214756667</c:v>
                </c:pt>
                <c:pt idx="84">
                  <c:v>275.19760866421478</c:v>
                </c:pt>
                <c:pt idx="85">
                  <c:v>276.76704716668627</c:v>
                </c:pt>
                <c:pt idx="86">
                  <c:v>278.30369395346861</c:v>
                </c:pt>
                <c:pt idx="87">
                  <c:v>279.80780599494915</c:v>
                </c:pt>
                <c:pt idx="88">
                  <c:v>281.2796402615154</c:v>
                </c:pt>
                <c:pt idx="89">
                  <c:v>282.71945372355458</c:v>
                </c:pt>
                <c:pt idx="90">
                  <c:v>284.12750335145432</c:v>
                </c:pt>
                <c:pt idx="91">
                  <c:v>285.50404611560185</c:v>
                </c:pt>
                <c:pt idx="92">
                  <c:v>286.84933898638457</c:v>
                </c:pt>
                <c:pt idx="93">
                  <c:v>288.16363893418992</c:v>
                </c:pt>
                <c:pt idx="94">
                  <c:v>289.44720292940536</c:v>
                </c:pt>
                <c:pt idx="95">
                  <c:v>290.70028794241824</c:v>
                </c:pt>
                <c:pt idx="96">
                  <c:v>291.92315094361589</c:v>
                </c:pt>
                <c:pt idx="97">
                  <c:v>293.11604890338577</c:v>
                </c:pt>
                <c:pt idx="98">
                  <c:v>294.27923879211522</c:v>
                </c:pt>
                <c:pt idx="99">
                  <c:v>295.41297758019175</c:v>
                </c:pt>
                <c:pt idx="100">
                  <c:v>296.51752223800275</c:v>
                </c:pt>
                <c:pt idx="101">
                  <c:v>297.59312973593552</c:v>
                </c:pt>
                <c:pt idx="102">
                  <c:v>298.64005704437744</c:v>
                </c:pt>
                <c:pt idx="103">
                  <c:v>299.65856113371603</c:v>
                </c:pt>
                <c:pt idx="104">
                  <c:v>300.64889897433864</c:v>
                </c:pt>
                <c:pt idx="105">
                  <c:v>301.61132753663259</c:v>
                </c:pt>
                <c:pt idx="106">
                  <c:v>302.54610379098551</c:v>
                </c:pt>
                <c:pt idx="107">
                  <c:v>303.45348470778441</c:v>
                </c:pt>
                <c:pt idx="108">
                  <c:v>304.33372725741708</c:v>
                </c:pt>
                <c:pt idx="109">
                  <c:v>305.18708841027069</c:v>
                </c:pt>
                <c:pt idx="110">
                  <c:v>306.01382513673269</c:v>
                </c:pt>
                <c:pt idx="111">
                  <c:v>306.81419440719043</c:v>
                </c:pt>
                <c:pt idx="112">
                  <c:v>307.58845319203147</c:v>
                </c:pt>
                <c:pt idx="113">
                  <c:v>308.33685846164303</c:v>
                </c:pt>
                <c:pt idx="114">
                  <c:v>309.05966718641264</c:v>
                </c:pt>
                <c:pt idx="115">
                  <c:v>309.75713633672763</c:v>
                </c:pt>
                <c:pt idx="116">
                  <c:v>310.42952288297539</c:v>
                </c:pt>
                <c:pt idx="117">
                  <c:v>311.07708379554333</c:v>
                </c:pt>
                <c:pt idx="118">
                  <c:v>311.7000760448189</c:v>
                </c:pt>
                <c:pt idx="119">
                  <c:v>312.29875660118944</c:v>
                </c:pt>
                <c:pt idx="120">
                  <c:v>312.87338243504223</c:v>
                </c:pt>
                <c:pt idx="121">
                  <c:v>313.42421051676496</c:v>
                </c:pt>
                <c:pt idx="122">
                  <c:v>313.95149781674473</c:v>
                </c:pt>
                <c:pt idx="123">
                  <c:v>314.45550130536918</c:v>
                </c:pt>
                <c:pt idx="124">
                  <c:v>314.93647795302559</c:v>
                </c:pt>
                <c:pt idx="125">
                  <c:v>315.39468473010129</c:v>
                </c:pt>
                <c:pt idx="126">
                  <c:v>315.8303786069838</c:v>
                </c:pt>
                <c:pt idx="127">
                  <c:v>316.24381655406057</c:v>
                </c:pt>
                <c:pt idx="128">
                  <c:v>316.63525554171878</c:v>
                </c:pt>
                <c:pt idx="129">
                  <c:v>317.00495254034593</c:v>
                </c:pt>
                <c:pt idx="130">
                  <c:v>317.35316452032959</c:v>
                </c:pt>
                <c:pt idx="131">
                  <c:v>317.68014845205693</c:v>
                </c:pt>
                <c:pt idx="132">
                  <c:v>317.9861613059154</c:v>
                </c:pt>
                <c:pt idx="133">
                  <c:v>318.27146005229253</c:v>
                </c:pt>
                <c:pt idx="134">
                  <c:v>318.53630166157546</c:v>
                </c:pt>
                <c:pt idx="135">
                  <c:v>318.78094310415173</c:v>
                </c:pt>
                <c:pt idx="136">
                  <c:v>319.00564135040878</c:v>
                </c:pt>
                <c:pt idx="137">
                  <c:v>319.21065337073406</c:v>
                </c:pt>
                <c:pt idx="138">
                  <c:v>319.39623613551487</c:v>
                </c:pt>
                <c:pt idx="139">
                  <c:v>319.56264661513859</c:v>
                </c:pt>
                <c:pt idx="140">
                  <c:v>319.71014177999268</c:v>
                </c:pt>
                <c:pt idx="141">
                  <c:v>319.83897860046443</c:v>
                </c:pt>
                <c:pt idx="142">
                  <c:v>319.94941404694151</c:v>
                </c:pt>
                <c:pt idx="143">
                  <c:v>320.04170508981093</c:v>
                </c:pt>
                <c:pt idx="144">
                  <c:v>320.11610869946031</c:v>
                </c:pt>
                <c:pt idx="145">
                  <c:v>320.17288184627705</c:v>
                </c:pt>
                <c:pt idx="146">
                  <c:v>320.21228150064854</c:v>
                </c:pt>
                <c:pt idx="147">
                  <c:v>320.23456463296219</c:v>
                </c:pt>
                <c:pt idx="148">
                  <c:v>320.23998821360533</c:v>
                </c:pt>
                <c:pt idx="149">
                  <c:v>320.2288092129653</c:v>
                </c:pt>
                <c:pt idx="150">
                  <c:v>320.20128460142973</c:v>
                </c:pt>
                <c:pt idx="151">
                  <c:v>320.15767134938585</c:v>
                </c:pt>
                <c:pt idx="152">
                  <c:v>320.09822642722105</c:v>
                </c:pt>
                <c:pt idx="153">
                  <c:v>320.02320680532273</c:v>
                </c:pt>
                <c:pt idx="154">
                  <c:v>319.93286945407846</c:v>
                </c:pt>
                <c:pt idx="155">
                  <c:v>319.8274713438754</c:v>
                </c:pt>
                <c:pt idx="156">
                  <c:v>319.70726944510108</c:v>
                </c:pt>
                <c:pt idx="157">
                  <c:v>319.57252072814288</c:v>
                </c:pt>
                <c:pt idx="158">
                  <c:v>319.42348216338809</c:v>
                </c:pt>
                <c:pt idx="159">
                  <c:v>319.26041072122433</c:v>
                </c:pt>
                <c:pt idx="160">
                  <c:v>319.08356337203878</c:v>
                </c:pt>
                <c:pt idx="161">
                  <c:v>318.89319708621895</c:v>
                </c:pt>
                <c:pt idx="162">
                  <c:v>318.68956883415223</c:v>
                </c:pt>
                <c:pt idx="163">
                  <c:v>318.47293558622596</c:v>
                </c:pt>
                <c:pt idx="164">
                  <c:v>318.24355431282771</c:v>
                </c:pt>
                <c:pt idx="165">
                  <c:v>318.00168198434477</c:v>
                </c:pt>
                <c:pt idx="166">
                  <c:v>317.74757557116436</c:v>
                </c:pt>
                <c:pt idx="167">
                  <c:v>317.48149204367422</c:v>
                </c:pt>
                <c:pt idx="168">
                  <c:v>317.20368837226141</c:v>
                </c:pt>
                <c:pt idx="169">
                  <c:v>316.91442152731349</c:v>
                </c:pt>
                <c:pt idx="170">
                  <c:v>316.61394847921798</c:v>
                </c:pt>
                <c:pt idx="171">
                  <c:v>316.30252619836205</c:v>
                </c:pt>
                <c:pt idx="172">
                  <c:v>315.9804116551332</c:v>
                </c:pt>
                <c:pt idx="173">
                  <c:v>315.64786181991894</c:v>
                </c:pt>
                <c:pt idx="174">
                  <c:v>315.3051336631064</c:v>
                </c:pt>
                <c:pt idx="175">
                  <c:v>314.9524841550832</c:v>
                </c:pt>
                <c:pt idx="176">
                  <c:v>314.59017026623678</c:v>
                </c:pt>
                <c:pt idx="177">
                  <c:v>314.21844896695427</c:v>
                </c:pt>
                <c:pt idx="178">
                  <c:v>313.83757722762329</c:v>
                </c:pt>
                <c:pt idx="179">
                  <c:v>313.44781201863128</c:v>
                </c:pt>
                <c:pt idx="180">
                  <c:v>313.04941031036543</c:v>
                </c:pt>
                <c:pt idx="181">
                  <c:v>312.64262907321324</c:v>
                </c:pt>
                <c:pt idx="182">
                  <c:v>312.22772527756212</c:v>
                </c:pt>
                <c:pt idx="183">
                  <c:v>311.80495589379944</c:v>
                </c:pt>
                <c:pt idx="184">
                  <c:v>311.37457789231263</c:v>
                </c:pt>
                <c:pt idx="185">
                  <c:v>310.93684824348912</c:v>
                </c:pt>
                <c:pt idx="186">
                  <c:v>310.4920239177161</c:v>
                </c:pt>
                <c:pt idx="187">
                  <c:v>310.04036188538129</c:v>
                </c:pt>
                <c:pt idx="188">
                  <c:v>309.58211911687198</c:v>
                </c:pt>
                <c:pt idx="189">
                  <c:v>309.11755258257546</c:v>
                </c:pt>
                <c:pt idx="190">
                  <c:v>308.64691925287906</c:v>
                </c:pt>
                <c:pt idx="191">
                  <c:v>308.17047609817058</c:v>
                </c:pt>
                <c:pt idx="192">
                  <c:v>307.68848008883691</c:v>
                </c:pt>
                <c:pt idx="193">
                  <c:v>307.20118819526562</c:v>
                </c:pt>
                <c:pt idx="194">
                  <c:v>306.70885738784443</c:v>
                </c:pt>
                <c:pt idx="195">
                  <c:v>306.2117446369603</c:v>
                </c:pt>
                <c:pt idx="196">
                  <c:v>305.71010691300074</c:v>
                </c:pt>
                <c:pt idx="197">
                  <c:v>305.20420118635332</c:v>
                </c:pt>
                <c:pt idx="198">
                  <c:v>304.69428442740536</c:v>
                </c:pt>
                <c:pt idx="199">
                  <c:v>304.18061360654428</c:v>
                </c:pt>
                <c:pt idx="200">
                  <c:v>303.6634456941573</c:v>
                </c:pt>
                <c:pt idx="201">
                  <c:v>303.14303766063199</c:v>
                </c:pt>
                <c:pt idx="202">
                  <c:v>302.61964647635574</c:v>
                </c:pt>
                <c:pt idx="203">
                  <c:v>302.09352911171578</c:v>
                </c:pt>
                <c:pt idx="204">
                  <c:v>301.56494253709963</c:v>
                </c:pt>
                <c:pt idx="205">
                  <c:v>301.03414372289507</c:v>
                </c:pt>
                <c:pt idx="206">
                  <c:v>300.50138963948888</c:v>
                </c:pt>
                <c:pt idx="207">
                  <c:v>299.96693725726863</c:v>
                </c:pt>
                <c:pt idx="208">
                  <c:v>299.43104354662171</c:v>
                </c:pt>
                <c:pt idx="209">
                  <c:v>298.89396547793581</c:v>
                </c:pt>
                <c:pt idx="210">
                  <c:v>298.35596002159792</c:v>
                </c:pt>
                <c:pt idx="211">
                  <c:v>297.81728414799596</c:v>
                </c:pt>
                <c:pt idx="212">
                  <c:v>297.27819482751681</c:v>
                </c:pt>
                <c:pt idx="213">
                  <c:v>296.73894903054804</c:v>
                </c:pt>
                <c:pt idx="214">
                  <c:v>296.19980372747699</c:v>
                </c:pt>
                <c:pt idx="215">
                  <c:v>295.66101588869122</c:v>
                </c:pt>
                <c:pt idx="216">
                  <c:v>295.12284248457803</c:v>
                </c:pt>
                <c:pt idx="217">
                  <c:v>294.58554048552503</c:v>
                </c:pt>
                <c:pt idx="218">
                  <c:v>294.04936686191928</c:v>
                </c:pt>
                <c:pt idx="219">
                  <c:v>293.51457858414813</c:v>
                </c:pt>
                <c:pt idx="220">
                  <c:v>292.98143262259941</c:v>
                </c:pt>
                <c:pt idx="221">
                  <c:v>292.45018594766015</c:v>
                </c:pt>
                <c:pt idx="222">
                  <c:v>291.92109552971783</c:v>
                </c:pt>
                <c:pt idx="223">
                  <c:v>291.39441833916021</c:v>
                </c:pt>
                <c:pt idx="224">
                  <c:v>290.87041134637411</c:v>
                </c:pt>
                <c:pt idx="225">
                  <c:v>290.34933152174733</c:v>
                </c:pt>
                <c:pt idx="226">
                  <c:v>289.83143583566681</c:v>
                </c:pt>
                <c:pt idx="227">
                  <c:v>289.31698125852063</c:v>
                </c:pt>
                <c:pt idx="228">
                  <c:v>288.80622476069544</c:v>
                </c:pt>
                <c:pt idx="229">
                  <c:v>288.29942331257968</c:v>
                </c:pt>
                <c:pt idx="230">
                  <c:v>287.79683388455948</c:v>
                </c:pt>
                <c:pt idx="231">
                  <c:v>287.29871344702309</c:v>
                </c:pt>
                <c:pt idx="232">
                  <c:v>286.80531897035752</c:v>
                </c:pt>
                <c:pt idx="233">
                  <c:v>286.31690742495044</c:v>
                </c:pt>
                <c:pt idx="234">
                  <c:v>285.83373578118898</c:v>
                </c:pt>
                <c:pt idx="235">
                  <c:v>285.35606100946114</c:v>
                </c:pt>
                <c:pt idx="236">
                  <c:v>284.88414008015343</c:v>
                </c:pt>
                <c:pt idx="237">
                  <c:v>284.41822996365386</c:v>
                </c:pt>
                <c:pt idx="238">
                  <c:v>283.95858763034937</c:v>
                </c:pt>
                <c:pt idx="239">
                  <c:v>283.50547005062776</c:v>
                </c:pt>
                <c:pt idx="240">
                  <c:v>283.05913419487632</c:v>
                </c:pt>
                <c:pt idx="241">
                  <c:v>282.61983703348261</c:v>
                </c:pt>
                <c:pt idx="242">
                  <c:v>282.1878355368338</c:v>
                </c:pt>
                <c:pt idx="243">
                  <c:v>281.76338667531712</c:v>
                </c:pt>
                <c:pt idx="244">
                  <c:v>281.34674741932025</c:v>
                </c:pt>
                <c:pt idx="245">
                  <c:v>280.93817473923059</c:v>
                </c:pt>
                <c:pt idx="246">
                  <c:v>280.53792560543525</c:v>
                </c:pt>
                <c:pt idx="247">
                  <c:v>280.14625698832248</c:v>
                </c:pt>
                <c:pt idx="248">
                  <c:v>279.76342585827848</c:v>
                </c:pt>
                <c:pt idx="249">
                  <c:v>279.38968918569122</c:v>
                </c:pt>
                <c:pt idx="250">
                  <c:v>279.02530394094839</c:v>
                </c:pt>
                <c:pt idx="251">
                  <c:v>278.67052709443675</c:v>
                </c:pt>
                <c:pt idx="252">
                  <c:v>278.32561561654427</c:v>
                </c:pt>
                <c:pt idx="253">
                  <c:v>277.99082647765817</c:v>
                </c:pt>
                <c:pt idx="254">
                  <c:v>277.66641664816575</c:v>
                </c:pt>
                <c:pt idx="255">
                  <c:v>277.35264309845422</c:v>
                </c:pt>
                <c:pt idx="256">
                  <c:v>277.04976279891139</c:v>
                </c:pt>
                <c:pt idx="257">
                  <c:v>276.75803271992453</c:v>
                </c:pt>
                <c:pt idx="258">
                  <c:v>276.47770983188076</c:v>
                </c:pt>
                <c:pt idx="259">
                  <c:v>276.20905110516793</c:v>
                </c:pt>
                <c:pt idx="260">
                  <c:v>275.95231351017327</c:v>
                </c:pt>
                <c:pt idx="261">
                  <c:v>275.70775401728406</c:v>
                </c:pt>
                <c:pt idx="262">
                  <c:v>275.47562959688759</c:v>
                </c:pt>
                <c:pt idx="263">
                  <c:v>275.25619721937142</c:v>
                </c:pt>
                <c:pt idx="264">
                  <c:v>275.04971385512312</c:v>
                </c:pt>
                <c:pt idx="265">
                  <c:v>274.85643647452974</c:v>
                </c:pt>
                <c:pt idx="266">
                  <c:v>274.67662204797938</c:v>
                </c:pt>
                <c:pt idx="267">
                  <c:v>274.51052754585845</c:v>
                </c:pt>
                <c:pt idx="268">
                  <c:v>274.35840993855481</c:v>
                </c:pt>
                <c:pt idx="269">
                  <c:v>274.22052619645598</c:v>
                </c:pt>
                <c:pt idx="270">
                  <c:v>274.09713328994917</c:v>
                </c:pt>
                <c:pt idx="271">
                  <c:v>273.98848818942179</c:v>
                </c:pt>
                <c:pt idx="272">
                  <c:v>273.8948478652618</c:v>
                </c:pt>
                <c:pt idx="273">
                  <c:v>273.81646928785563</c:v>
                </c:pt>
                <c:pt idx="274">
                  <c:v>273.75360942759113</c:v>
                </c:pt>
                <c:pt idx="275">
                  <c:v>273.70652525485576</c:v>
                </c:pt>
                <c:pt idx="276">
                  <c:v>273.67547374003698</c:v>
                </c:pt>
                <c:pt idx="277">
                  <c:v>273.660711853522</c:v>
                </c:pt>
                <c:pt idx="278">
                  <c:v>273.66249656569858</c:v>
                </c:pt>
                <c:pt idx="279">
                  <c:v>273.68108484695347</c:v>
                </c:pt>
                <c:pt idx="280">
                  <c:v>273.716733667674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47C-4FFE-9F24-D1D2E5659090}"/>
            </c:ext>
          </c:extLst>
        </c:ser>
        <c:ser>
          <c:idx val="1"/>
          <c:order val="1"/>
          <c:spPr>
            <a:ln w="15875" cap="rnd">
              <a:solidFill>
                <a:srgbClr val="C0000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Hárok1!$AZ$5:$AZ$535</c:f>
              <c:numCache>
                <c:formatCode>General</c:formatCode>
                <c:ptCount val="5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</c:numCache>
            </c:numRef>
          </c:xVal>
          <c:yVal>
            <c:numRef>
              <c:f>Hárok1!$BC$5:$BC$535</c:f>
              <c:numCache>
                <c:formatCode>General</c:formatCode>
                <c:ptCount val="531"/>
                <c:pt idx="280" formatCode="_(* #,##0.0_);_(* \(#,##0.0\);_(* &quot;-&quot;??_);_(@_)">
                  <c:v>273.71673366767453</c:v>
                </c:pt>
                <c:pt idx="281" formatCode="_(* #,##0.0_);_(* \(#,##0.0\);_(* &quot;-&quot;??_);_(@_)">
                  <c:v>273.05942262201097</c:v>
                </c:pt>
                <c:pt idx="282" formatCode="_(* #,##0.0_);_(* \(#,##0.0\);_(* &quot;-&quot;??_);_(@_)">
                  <c:v>272.40211157634741</c:v>
                </c:pt>
                <c:pt idx="283" formatCode="_(* #,##0.0_);_(* \(#,##0.0\);_(* &quot;-&quot;??_);_(@_)">
                  <c:v>271.74480053068385</c:v>
                </c:pt>
                <c:pt idx="284" formatCode="_(* #,##0.0_);_(* \(#,##0.0\);_(* &quot;-&quot;??_);_(@_)">
                  <c:v>271.08748948502028</c:v>
                </c:pt>
                <c:pt idx="285" formatCode="_(* #,##0.0_);_(* \(#,##0.0\);_(* &quot;-&quot;??_);_(@_)">
                  <c:v>270.43017843935672</c:v>
                </c:pt>
                <c:pt idx="286" formatCode="_(* #,##0.0_);_(* \(#,##0.0\);_(* &quot;-&quot;??_);_(@_)">
                  <c:v>269.77286739369316</c:v>
                </c:pt>
                <c:pt idx="287" formatCode="_(* #,##0.0_);_(* \(#,##0.0\);_(* &quot;-&quot;??_);_(@_)">
                  <c:v>269.1155563480296</c:v>
                </c:pt>
                <c:pt idx="288" formatCode="_(* #,##0.0_);_(* \(#,##0.0\);_(* &quot;-&quot;??_);_(@_)">
                  <c:v>268.45824530236604</c:v>
                </c:pt>
                <c:pt idx="289" formatCode="_(* #,##0.0_);_(* \(#,##0.0\);_(* &quot;-&quot;??_);_(@_)">
                  <c:v>267.80093425670248</c:v>
                </c:pt>
                <c:pt idx="290" formatCode="_(* #,##0.0_);_(* \(#,##0.0\);_(* &quot;-&quot;??_);_(@_)">
                  <c:v>267.14362321103891</c:v>
                </c:pt>
                <c:pt idx="291" formatCode="_(* #,##0.0_);_(* \(#,##0.0\);_(* &quot;-&quot;??_);_(@_)">
                  <c:v>266.48631216537535</c:v>
                </c:pt>
                <c:pt idx="292" formatCode="_(* #,##0.0_);_(* \(#,##0.0\);_(* &quot;-&quot;??_);_(@_)">
                  <c:v>265.82900111971179</c:v>
                </c:pt>
                <c:pt idx="293" formatCode="_(* #,##0.0_);_(* \(#,##0.0\);_(* &quot;-&quot;??_);_(@_)">
                  <c:v>265.17169007404823</c:v>
                </c:pt>
                <c:pt idx="294" formatCode="_(* #,##0.0_);_(* \(#,##0.0\);_(* &quot;-&quot;??_);_(@_)">
                  <c:v>264.51437902838467</c:v>
                </c:pt>
                <c:pt idx="295" formatCode="_(* #,##0.0_);_(* \(#,##0.0\);_(* &quot;-&quot;??_);_(@_)">
                  <c:v>263.85706798272111</c:v>
                </c:pt>
                <c:pt idx="296" formatCode="_(* #,##0.0_);_(* \(#,##0.0\);_(* &quot;-&quot;??_);_(@_)">
                  <c:v>263.19975693705754</c:v>
                </c:pt>
                <c:pt idx="297" formatCode="_(* #,##0.0_);_(* \(#,##0.0\);_(* &quot;-&quot;??_);_(@_)">
                  <c:v>262.54244589139398</c:v>
                </c:pt>
                <c:pt idx="298" formatCode="_(* #,##0.0_);_(* \(#,##0.0\);_(* &quot;-&quot;??_);_(@_)">
                  <c:v>261.88513484573042</c:v>
                </c:pt>
                <c:pt idx="299" formatCode="_(* #,##0.0_);_(* \(#,##0.0\);_(* &quot;-&quot;??_);_(@_)">
                  <c:v>261.22782380006686</c:v>
                </c:pt>
                <c:pt idx="300" formatCode="_(* #,##0.0_);_(* \(#,##0.0\);_(* &quot;-&quot;??_);_(@_)">
                  <c:v>260.5705127544033</c:v>
                </c:pt>
                <c:pt idx="301" formatCode="_(* #,##0.0_);_(* \(#,##0.0\);_(* &quot;-&quot;??_);_(@_)">
                  <c:v>259.91320170873973</c:v>
                </c:pt>
                <c:pt idx="302" formatCode="_(* #,##0.0_);_(* \(#,##0.0\);_(* &quot;-&quot;??_);_(@_)">
                  <c:v>259.25589066307617</c:v>
                </c:pt>
                <c:pt idx="303" formatCode="_(* #,##0.0_);_(* \(#,##0.0\);_(* &quot;-&quot;??_);_(@_)">
                  <c:v>258.59857961741261</c:v>
                </c:pt>
                <c:pt idx="304" formatCode="_(* #,##0.0_);_(* \(#,##0.0\);_(* &quot;-&quot;??_);_(@_)">
                  <c:v>257.94126857174905</c:v>
                </c:pt>
                <c:pt idx="305" formatCode="_(* #,##0.0_);_(* \(#,##0.0\);_(* &quot;-&quot;??_);_(@_)">
                  <c:v>257.28395752608549</c:v>
                </c:pt>
                <c:pt idx="306" formatCode="_(* #,##0.0_);_(* \(#,##0.0\);_(* &quot;-&quot;??_);_(@_)">
                  <c:v>256.62664648042193</c:v>
                </c:pt>
                <c:pt idx="307" formatCode="_(* #,##0.0_);_(* \(#,##0.0\);_(* &quot;-&quot;??_);_(@_)">
                  <c:v>255.96933543475839</c:v>
                </c:pt>
                <c:pt idx="308" formatCode="_(* #,##0.0_);_(* \(#,##0.0\);_(* &quot;-&quot;??_);_(@_)">
                  <c:v>255.31202438909486</c:v>
                </c:pt>
                <c:pt idx="309" formatCode="_(* #,##0.0_);_(* \(#,##0.0\);_(* &quot;-&quot;??_);_(@_)">
                  <c:v>254.65471334343133</c:v>
                </c:pt>
                <c:pt idx="310" formatCode="_(* #,##0.0_);_(* \(#,##0.0\);_(* &quot;-&quot;??_);_(@_)">
                  <c:v>253.99740229776779</c:v>
                </c:pt>
                <c:pt idx="311" formatCode="_(* #,##0.0_);_(* \(#,##0.0\);_(* &quot;-&quot;??_);_(@_)">
                  <c:v>253.34009125210426</c:v>
                </c:pt>
                <c:pt idx="312" formatCode="_(* #,##0.0_);_(* \(#,##0.0\);_(* &quot;-&quot;??_);_(@_)">
                  <c:v>252.68278020644073</c:v>
                </c:pt>
                <c:pt idx="313" formatCode="_(* #,##0.0_);_(* \(#,##0.0\);_(* &quot;-&quot;??_);_(@_)">
                  <c:v>252.02546916077719</c:v>
                </c:pt>
                <c:pt idx="314" formatCode="_(* #,##0.0_);_(* \(#,##0.0\);_(* &quot;-&quot;??_);_(@_)">
                  <c:v>251.36815811511366</c:v>
                </c:pt>
                <c:pt idx="315" formatCode="_(* #,##0.0_);_(* \(#,##0.0\);_(* &quot;-&quot;??_);_(@_)">
                  <c:v>250.71084706945012</c:v>
                </c:pt>
                <c:pt idx="316" formatCode="_(* #,##0.0_);_(* \(#,##0.0\);_(* &quot;-&quot;??_);_(@_)">
                  <c:v>250.05353602378659</c:v>
                </c:pt>
                <c:pt idx="317" formatCode="_(* #,##0.0_);_(* \(#,##0.0\);_(* &quot;-&quot;??_);_(@_)">
                  <c:v>249.39622497812306</c:v>
                </c:pt>
                <c:pt idx="318" formatCode="_(* #,##0.0_);_(* \(#,##0.0\);_(* &quot;-&quot;??_);_(@_)">
                  <c:v>248.73891393245952</c:v>
                </c:pt>
                <c:pt idx="319" formatCode="_(* #,##0.0_);_(* \(#,##0.0\);_(* &quot;-&quot;??_);_(@_)">
                  <c:v>248.08160288679599</c:v>
                </c:pt>
                <c:pt idx="320" formatCode="_(* #,##0.0_);_(* \(#,##0.0\);_(* &quot;-&quot;??_);_(@_)">
                  <c:v>247.42429184113246</c:v>
                </c:pt>
                <c:pt idx="321" formatCode="_(* #,##0.0_);_(* \(#,##0.0\);_(* &quot;-&quot;??_);_(@_)">
                  <c:v>246.76698079546892</c:v>
                </c:pt>
                <c:pt idx="322" formatCode="_(* #,##0.0_);_(* \(#,##0.0\);_(* &quot;-&quot;??_);_(@_)">
                  <c:v>246.10966974980539</c:v>
                </c:pt>
                <c:pt idx="323" formatCode="_(* #,##0.0_);_(* \(#,##0.0\);_(* &quot;-&quot;??_);_(@_)">
                  <c:v>245.45235870414186</c:v>
                </c:pt>
                <c:pt idx="324" formatCode="_(* #,##0.0_);_(* \(#,##0.0\);_(* &quot;-&quot;??_);_(@_)">
                  <c:v>244.79504765847832</c:v>
                </c:pt>
                <c:pt idx="325" formatCode="_(* #,##0.0_);_(* \(#,##0.0\);_(* &quot;-&quot;??_);_(@_)">
                  <c:v>244.13773661281479</c:v>
                </c:pt>
                <c:pt idx="326" formatCode="_(* #,##0.0_);_(* \(#,##0.0\);_(* &quot;-&quot;??_);_(@_)">
                  <c:v>243.48042556715126</c:v>
                </c:pt>
                <c:pt idx="327" formatCode="_(* #,##0.0_);_(* \(#,##0.0\);_(* &quot;-&quot;??_);_(@_)">
                  <c:v>242.82311452148772</c:v>
                </c:pt>
                <c:pt idx="328" formatCode="_(* #,##0.0_);_(* \(#,##0.0\);_(* &quot;-&quot;??_);_(@_)">
                  <c:v>242.16580347582419</c:v>
                </c:pt>
                <c:pt idx="329" formatCode="_(* #,##0.0_);_(* \(#,##0.0\);_(* &quot;-&quot;??_);_(@_)">
                  <c:v>241.50849243016066</c:v>
                </c:pt>
                <c:pt idx="330" formatCode="_(* #,##0.0_);_(* \(#,##0.0\);_(* &quot;-&quot;??_);_(@_)">
                  <c:v>240.85118138449712</c:v>
                </c:pt>
                <c:pt idx="331" formatCode="_(* #,##0.0_);_(* \(#,##0.0\);_(* &quot;-&quot;??_);_(@_)">
                  <c:v>240.19387033883359</c:v>
                </c:pt>
                <c:pt idx="332" formatCode="_(* #,##0.0_);_(* \(#,##0.0\);_(* &quot;-&quot;??_);_(@_)">
                  <c:v>239.53655929317006</c:v>
                </c:pt>
                <c:pt idx="333" formatCode="_(* #,##0.0_);_(* \(#,##0.0\);_(* &quot;-&quot;??_);_(@_)">
                  <c:v>238.87924824750652</c:v>
                </c:pt>
                <c:pt idx="334" formatCode="_(* #,##0.0_);_(* \(#,##0.0\);_(* &quot;-&quot;??_);_(@_)">
                  <c:v>238.22193720184299</c:v>
                </c:pt>
                <c:pt idx="335" formatCode="_(* #,##0.0_);_(* \(#,##0.0\);_(* &quot;-&quot;??_);_(@_)">
                  <c:v>237.56462615617946</c:v>
                </c:pt>
                <c:pt idx="336" formatCode="_(* #,##0.0_);_(* \(#,##0.0\);_(* &quot;-&quot;??_);_(@_)">
                  <c:v>236.90731511051592</c:v>
                </c:pt>
                <c:pt idx="337" formatCode="_(* #,##0.0_);_(* \(#,##0.0\);_(* &quot;-&quot;??_);_(@_)">
                  <c:v>236.25000406485239</c:v>
                </c:pt>
                <c:pt idx="338" formatCode="_(* #,##0.0_);_(* \(#,##0.0\);_(* &quot;-&quot;??_);_(@_)">
                  <c:v>235.59269301918886</c:v>
                </c:pt>
                <c:pt idx="339" formatCode="_(* #,##0.0_);_(* \(#,##0.0\);_(* &quot;-&quot;??_);_(@_)">
                  <c:v>234.93538197352532</c:v>
                </c:pt>
                <c:pt idx="340" formatCode="_(* #,##0.0_);_(* \(#,##0.0\);_(* &quot;-&quot;??_);_(@_)">
                  <c:v>234.27807092786179</c:v>
                </c:pt>
                <c:pt idx="341" formatCode="_(* #,##0.0_);_(* \(#,##0.0\);_(* &quot;-&quot;??_);_(@_)">
                  <c:v>233.62075988219826</c:v>
                </c:pt>
                <c:pt idx="342" formatCode="_(* #,##0.0_);_(* \(#,##0.0\);_(* &quot;-&quot;??_);_(@_)">
                  <c:v>232.96344883653472</c:v>
                </c:pt>
                <c:pt idx="343" formatCode="_(* #,##0.0_);_(* \(#,##0.0\);_(* &quot;-&quot;??_);_(@_)">
                  <c:v>232.30613779087119</c:v>
                </c:pt>
                <c:pt idx="344" formatCode="_(* #,##0.0_);_(* \(#,##0.0\);_(* &quot;-&quot;??_);_(@_)">
                  <c:v>231.64882674520766</c:v>
                </c:pt>
                <c:pt idx="345" formatCode="_(* #,##0.0_);_(* \(#,##0.0\);_(* &quot;-&quot;??_);_(@_)">
                  <c:v>230.99151569954412</c:v>
                </c:pt>
                <c:pt idx="346" formatCode="_(* #,##0.0_);_(* \(#,##0.0\);_(* &quot;-&quot;??_);_(@_)">
                  <c:v>230.33420465388059</c:v>
                </c:pt>
                <c:pt idx="347" formatCode="_(* #,##0.0_);_(* \(#,##0.0\);_(* &quot;-&quot;??_);_(@_)">
                  <c:v>229.67689360821706</c:v>
                </c:pt>
                <c:pt idx="348" formatCode="_(* #,##0.0_);_(* \(#,##0.0\);_(* &quot;-&quot;??_);_(@_)">
                  <c:v>229.01958256255352</c:v>
                </c:pt>
                <c:pt idx="349" formatCode="_(* #,##0.0_);_(* \(#,##0.0\);_(* &quot;-&quot;??_);_(@_)">
                  <c:v>228.36227151688999</c:v>
                </c:pt>
                <c:pt idx="350" formatCode="_(* #,##0.0_);_(* \(#,##0.0\);_(* &quot;-&quot;??_);_(@_)">
                  <c:v>227.70496047122646</c:v>
                </c:pt>
                <c:pt idx="351" formatCode="_(* #,##0.0_);_(* \(#,##0.0\);_(* &quot;-&quot;??_);_(@_)">
                  <c:v>227.04764942556292</c:v>
                </c:pt>
                <c:pt idx="352" formatCode="_(* #,##0.0_);_(* \(#,##0.0\);_(* &quot;-&quot;??_);_(@_)">
                  <c:v>226.39033837989939</c:v>
                </c:pt>
                <c:pt idx="353" formatCode="_(* #,##0.0_);_(* \(#,##0.0\);_(* &quot;-&quot;??_);_(@_)">
                  <c:v>225.73302733423586</c:v>
                </c:pt>
                <c:pt idx="354" formatCode="_(* #,##0.0_);_(* \(#,##0.0\);_(* &quot;-&quot;??_);_(@_)">
                  <c:v>225.07571628857232</c:v>
                </c:pt>
                <c:pt idx="355" formatCode="_(* #,##0.0_);_(* \(#,##0.0\);_(* &quot;-&quot;??_);_(@_)">
                  <c:v>224.41840524290879</c:v>
                </c:pt>
                <c:pt idx="356" formatCode="_(* #,##0.0_);_(* \(#,##0.0\);_(* &quot;-&quot;??_);_(@_)">
                  <c:v>223.76109419724526</c:v>
                </c:pt>
                <c:pt idx="357" formatCode="_(* #,##0.0_);_(* \(#,##0.0\);_(* &quot;-&quot;??_);_(@_)">
                  <c:v>223.10378315158172</c:v>
                </c:pt>
                <c:pt idx="358" formatCode="_(* #,##0.0_);_(* \(#,##0.0\);_(* &quot;-&quot;??_);_(@_)">
                  <c:v>222.44647210591819</c:v>
                </c:pt>
                <c:pt idx="359" formatCode="_(* #,##0.0_);_(* \(#,##0.0\);_(* &quot;-&quot;??_);_(@_)">
                  <c:v>221.78916106025466</c:v>
                </c:pt>
                <c:pt idx="360" formatCode="_(* #,##0.0_);_(* \(#,##0.0\);_(* &quot;-&quot;??_);_(@_)">
                  <c:v>221.13185001459112</c:v>
                </c:pt>
                <c:pt idx="361" formatCode="_(* #,##0.0_);_(* \(#,##0.0\);_(* &quot;-&quot;??_);_(@_)">
                  <c:v>220.47453896892759</c:v>
                </c:pt>
                <c:pt idx="362" formatCode="_(* #,##0.0_);_(* \(#,##0.0\);_(* &quot;-&quot;??_);_(@_)">
                  <c:v>219.81722792326406</c:v>
                </c:pt>
                <c:pt idx="363" formatCode="_(* #,##0.0_);_(* \(#,##0.0\);_(* &quot;-&quot;??_);_(@_)">
                  <c:v>219.15991687760052</c:v>
                </c:pt>
                <c:pt idx="364" formatCode="_(* #,##0.0_);_(* \(#,##0.0\);_(* &quot;-&quot;??_);_(@_)">
                  <c:v>218.50260583193699</c:v>
                </c:pt>
                <c:pt idx="365" formatCode="_(* #,##0.0_);_(* \(#,##0.0\);_(* &quot;-&quot;??_);_(@_)">
                  <c:v>217.84529478627346</c:v>
                </c:pt>
                <c:pt idx="366" formatCode="_(* #,##0.0_);_(* \(#,##0.0\);_(* &quot;-&quot;??_);_(@_)">
                  <c:v>217.18798374060992</c:v>
                </c:pt>
                <c:pt idx="367" formatCode="_(* #,##0.0_);_(* \(#,##0.0\);_(* &quot;-&quot;??_);_(@_)">
                  <c:v>216.53067269494639</c:v>
                </c:pt>
                <c:pt idx="368" formatCode="_(* #,##0.0_);_(* \(#,##0.0\);_(* &quot;-&quot;??_);_(@_)">
                  <c:v>215.87336164928286</c:v>
                </c:pt>
                <c:pt idx="369" formatCode="_(* #,##0.0_);_(* \(#,##0.0\);_(* &quot;-&quot;??_);_(@_)">
                  <c:v>215.21605060361932</c:v>
                </c:pt>
                <c:pt idx="370" formatCode="_(* #,##0.0_);_(* \(#,##0.0\);_(* &quot;-&quot;??_);_(@_)">
                  <c:v>214.55873955795579</c:v>
                </c:pt>
                <c:pt idx="371" formatCode="_(* #,##0.0_);_(* \(#,##0.0\);_(* &quot;-&quot;??_);_(@_)">
                  <c:v>213.90142851229226</c:v>
                </c:pt>
                <c:pt idx="372" formatCode="_(* #,##0.0_);_(* \(#,##0.0\);_(* &quot;-&quot;??_);_(@_)">
                  <c:v>213.24411746662872</c:v>
                </c:pt>
                <c:pt idx="373" formatCode="_(* #,##0.0_);_(* \(#,##0.0\);_(* &quot;-&quot;??_);_(@_)">
                  <c:v>212.58680642096519</c:v>
                </c:pt>
                <c:pt idx="374" formatCode="_(* #,##0.0_);_(* \(#,##0.0\);_(* &quot;-&quot;??_);_(@_)">
                  <c:v>211.92949537530166</c:v>
                </c:pt>
                <c:pt idx="375" formatCode="_(* #,##0.0_);_(* \(#,##0.0\);_(* &quot;-&quot;??_);_(@_)">
                  <c:v>211.27218432963812</c:v>
                </c:pt>
                <c:pt idx="376" formatCode="_(* #,##0.0_);_(* \(#,##0.0\);_(* &quot;-&quot;??_);_(@_)">
                  <c:v>210.61487328397459</c:v>
                </c:pt>
                <c:pt idx="377" formatCode="_(* #,##0.0_);_(* \(#,##0.0\);_(* &quot;-&quot;??_);_(@_)">
                  <c:v>209.95756223831106</c:v>
                </c:pt>
                <c:pt idx="378" formatCode="_(* #,##0.0_);_(* \(#,##0.0\);_(* &quot;-&quot;??_);_(@_)">
                  <c:v>209.30025119264752</c:v>
                </c:pt>
                <c:pt idx="379" formatCode="_(* #,##0.0_);_(* \(#,##0.0\);_(* &quot;-&quot;??_);_(@_)">
                  <c:v>208.64294014698399</c:v>
                </c:pt>
                <c:pt idx="380" formatCode="_(* #,##0.0_);_(* \(#,##0.0\);_(* &quot;-&quot;??_);_(@_)">
                  <c:v>207.98562910132046</c:v>
                </c:pt>
                <c:pt idx="381" formatCode="_(* #,##0.0_);_(* \(#,##0.0\);_(* &quot;-&quot;??_);_(@_)">
                  <c:v>207.32831805565692</c:v>
                </c:pt>
                <c:pt idx="382" formatCode="_(* #,##0.0_);_(* \(#,##0.0\);_(* &quot;-&quot;??_);_(@_)">
                  <c:v>206.67100700999339</c:v>
                </c:pt>
                <c:pt idx="383" formatCode="_(* #,##0.0_);_(* \(#,##0.0\);_(* &quot;-&quot;??_);_(@_)">
                  <c:v>206.01369596432986</c:v>
                </c:pt>
                <c:pt idx="384" formatCode="_(* #,##0.0_);_(* \(#,##0.0\);_(* &quot;-&quot;??_);_(@_)">
                  <c:v>205.35638491866632</c:v>
                </c:pt>
                <c:pt idx="385" formatCode="_(* #,##0.0_);_(* \(#,##0.0\);_(* &quot;-&quot;??_);_(@_)">
                  <c:v>204.69907387300279</c:v>
                </c:pt>
                <c:pt idx="386" formatCode="_(* #,##0.0_);_(* \(#,##0.0\);_(* &quot;-&quot;??_);_(@_)">
                  <c:v>204.04176282733926</c:v>
                </c:pt>
                <c:pt idx="387" formatCode="_(* #,##0.0_);_(* \(#,##0.0\);_(* &quot;-&quot;??_);_(@_)">
                  <c:v>203.38445178167572</c:v>
                </c:pt>
                <c:pt idx="388" formatCode="_(* #,##0.0_);_(* \(#,##0.0\);_(* &quot;-&quot;??_);_(@_)">
                  <c:v>202.72714073601219</c:v>
                </c:pt>
                <c:pt idx="389" formatCode="_(* #,##0.0_);_(* \(#,##0.0\);_(* &quot;-&quot;??_);_(@_)">
                  <c:v>202.06982969034866</c:v>
                </c:pt>
                <c:pt idx="390" formatCode="_(* #,##0.0_);_(* \(#,##0.0\);_(* &quot;-&quot;??_);_(@_)">
                  <c:v>201.41251864468512</c:v>
                </c:pt>
                <c:pt idx="391" formatCode="_(* #,##0.0_);_(* \(#,##0.0\);_(* &quot;-&quot;??_);_(@_)">
                  <c:v>200.75520759902159</c:v>
                </c:pt>
                <c:pt idx="392" formatCode="_(* #,##0.0_);_(* \(#,##0.0\);_(* &quot;-&quot;??_);_(@_)">
                  <c:v>200.09789655335805</c:v>
                </c:pt>
                <c:pt idx="393" formatCode="_(* #,##0.0_);_(* \(#,##0.0\);_(* &quot;-&quot;??_);_(@_)">
                  <c:v>199.44058550769452</c:v>
                </c:pt>
                <c:pt idx="394" formatCode="_(* #,##0.0_);_(* \(#,##0.0\);_(* &quot;-&quot;??_);_(@_)">
                  <c:v>198.78327446203099</c:v>
                </c:pt>
                <c:pt idx="395" formatCode="_(* #,##0.0_);_(* \(#,##0.0\);_(* &quot;-&quot;??_);_(@_)">
                  <c:v>198.12596341636745</c:v>
                </c:pt>
                <c:pt idx="396" formatCode="_(* #,##0.0_);_(* \(#,##0.0\);_(* &quot;-&quot;??_);_(@_)">
                  <c:v>197.46865237070392</c:v>
                </c:pt>
                <c:pt idx="397" formatCode="_(* #,##0.0_);_(* \(#,##0.0\);_(* &quot;-&quot;??_);_(@_)">
                  <c:v>196.81134132504039</c:v>
                </c:pt>
                <c:pt idx="398" formatCode="_(* #,##0.0_);_(* \(#,##0.0\);_(* &quot;-&quot;??_);_(@_)">
                  <c:v>196.15403027937685</c:v>
                </c:pt>
                <c:pt idx="399" formatCode="_(* #,##0.0_);_(* \(#,##0.0\);_(* &quot;-&quot;??_);_(@_)">
                  <c:v>195.49671923371332</c:v>
                </c:pt>
                <c:pt idx="400" formatCode="_(* #,##0.0_);_(* \(#,##0.0\);_(* &quot;-&quot;??_);_(@_)">
                  <c:v>194.83940818804979</c:v>
                </c:pt>
                <c:pt idx="401" formatCode="_(* #,##0.0_);_(* \(#,##0.0\);_(* &quot;-&quot;??_);_(@_)">
                  <c:v>194.18209714238625</c:v>
                </c:pt>
                <c:pt idx="402" formatCode="_(* #,##0.0_);_(* \(#,##0.0\);_(* &quot;-&quot;??_);_(@_)">
                  <c:v>193.52478609672272</c:v>
                </c:pt>
                <c:pt idx="403" formatCode="_(* #,##0.0_);_(* \(#,##0.0\);_(* &quot;-&quot;??_);_(@_)">
                  <c:v>192.86747505105919</c:v>
                </c:pt>
                <c:pt idx="404" formatCode="_(* #,##0.0_);_(* \(#,##0.0\);_(* &quot;-&quot;??_);_(@_)">
                  <c:v>192.21016400539565</c:v>
                </c:pt>
                <c:pt idx="405" formatCode="_(* #,##0.0_);_(* \(#,##0.0\);_(* &quot;-&quot;??_);_(@_)">
                  <c:v>191.55285295973212</c:v>
                </c:pt>
                <c:pt idx="406" formatCode="_(* #,##0.0_);_(* \(#,##0.0\);_(* &quot;-&quot;??_);_(@_)">
                  <c:v>190.89554191406859</c:v>
                </c:pt>
                <c:pt idx="407" formatCode="_(* #,##0.0_);_(* \(#,##0.0\);_(* &quot;-&quot;??_);_(@_)">
                  <c:v>190.23823086840505</c:v>
                </c:pt>
                <c:pt idx="408" formatCode="_(* #,##0.0_);_(* \(#,##0.0\);_(* &quot;-&quot;??_);_(@_)">
                  <c:v>189.58091982274152</c:v>
                </c:pt>
                <c:pt idx="409" formatCode="_(* #,##0.0_);_(* \(#,##0.0\);_(* &quot;-&quot;??_);_(@_)">
                  <c:v>188.92360877707799</c:v>
                </c:pt>
                <c:pt idx="410" formatCode="_(* #,##0.0_);_(* \(#,##0.0\);_(* &quot;-&quot;??_);_(@_)">
                  <c:v>188.26629773141445</c:v>
                </c:pt>
                <c:pt idx="411" formatCode="_(* #,##0.0_);_(* \(#,##0.0\);_(* &quot;-&quot;??_);_(@_)">
                  <c:v>187.60898668575092</c:v>
                </c:pt>
                <c:pt idx="412" formatCode="_(* #,##0.0_);_(* \(#,##0.0\);_(* &quot;-&quot;??_);_(@_)">
                  <c:v>186.95167564008739</c:v>
                </c:pt>
                <c:pt idx="413" formatCode="_(* #,##0.0_);_(* \(#,##0.0\);_(* &quot;-&quot;??_);_(@_)">
                  <c:v>186.29436459442385</c:v>
                </c:pt>
                <c:pt idx="414" formatCode="_(* #,##0.0_);_(* \(#,##0.0\);_(* &quot;-&quot;??_);_(@_)">
                  <c:v>185.63705354876032</c:v>
                </c:pt>
                <c:pt idx="415" formatCode="_(* #,##0.0_);_(* \(#,##0.0\);_(* &quot;-&quot;??_);_(@_)">
                  <c:v>184.97974250309679</c:v>
                </c:pt>
                <c:pt idx="416" formatCode="_(* #,##0.0_);_(* \(#,##0.0\);_(* &quot;-&quot;??_);_(@_)">
                  <c:v>184.32243145743325</c:v>
                </c:pt>
                <c:pt idx="417" formatCode="_(* #,##0.0_);_(* \(#,##0.0\);_(* &quot;-&quot;??_);_(@_)">
                  <c:v>183.66512041176972</c:v>
                </c:pt>
                <c:pt idx="418" formatCode="_(* #,##0.0_);_(* \(#,##0.0\);_(* &quot;-&quot;??_);_(@_)">
                  <c:v>183.00780936610619</c:v>
                </c:pt>
                <c:pt idx="419" formatCode="_(* #,##0.0_);_(* \(#,##0.0\);_(* &quot;-&quot;??_);_(@_)">
                  <c:v>182.35049832044265</c:v>
                </c:pt>
                <c:pt idx="420" formatCode="_(* #,##0.0_);_(* \(#,##0.0\);_(* &quot;-&quot;??_);_(@_)">
                  <c:v>181.69318727477912</c:v>
                </c:pt>
                <c:pt idx="421" formatCode="_(* #,##0.0_);_(* \(#,##0.0\);_(* &quot;-&quot;??_);_(@_)">
                  <c:v>181.03587622911559</c:v>
                </c:pt>
                <c:pt idx="422" formatCode="_(* #,##0.0_);_(* \(#,##0.0\);_(* &quot;-&quot;??_);_(@_)">
                  <c:v>180.37856518345205</c:v>
                </c:pt>
                <c:pt idx="423" formatCode="_(* #,##0.0_);_(* \(#,##0.0\);_(* &quot;-&quot;??_);_(@_)">
                  <c:v>179.72125413778852</c:v>
                </c:pt>
                <c:pt idx="424" formatCode="_(* #,##0.0_);_(* \(#,##0.0\);_(* &quot;-&quot;??_);_(@_)">
                  <c:v>179.06394309212499</c:v>
                </c:pt>
                <c:pt idx="425" formatCode="_(* #,##0.0_);_(* \(#,##0.0\);_(* &quot;-&quot;??_);_(@_)">
                  <c:v>178.40663204646145</c:v>
                </c:pt>
                <c:pt idx="426" formatCode="_(* #,##0.0_);_(* \(#,##0.0\);_(* &quot;-&quot;??_);_(@_)">
                  <c:v>177.74932100079792</c:v>
                </c:pt>
                <c:pt idx="427" formatCode="_(* #,##0.0_);_(* \(#,##0.0\);_(* &quot;-&quot;??_);_(@_)">
                  <c:v>177.09200995513439</c:v>
                </c:pt>
                <c:pt idx="428" formatCode="_(* #,##0.0_);_(* \(#,##0.0\);_(* &quot;-&quot;??_);_(@_)">
                  <c:v>176.43469890947085</c:v>
                </c:pt>
                <c:pt idx="429" formatCode="_(* #,##0.0_);_(* \(#,##0.0\);_(* &quot;-&quot;??_);_(@_)">
                  <c:v>175.77738786380732</c:v>
                </c:pt>
                <c:pt idx="430" formatCode="_(* #,##0.0_);_(* \(#,##0.0\);_(* &quot;-&quot;??_);_(@_)">
                  <c:v>175.12007681814379</c:v>
                </c:pt>
                <c:pt idx="431" formatCode="_(* #,##0.0_);_(* \(#,##0.0\);_(* &quot;-&quot;??_);_(@_)">
                  <c:v>174.46276577248025</c:v>
                </c:pt>
                <c:pt idx="432" formatCode="_(* #,##0.0_);_(* \(#,##0.0\);_(* &quot;-&quot;??_);_(@_)">
                  <c:v>173.80545472681672</c:v>
                </c:pt>
                <c:pt idx="433" formatCode="_(* #,##0.0_);_(* \(#,##0.0\);_(* &quot;-&quot;??_);_(@_)">
                  <c:v>173.14814368115319</c:v>
                </c:pt>
                <c:pt idx="434" formatCode="_(* #,##0.0_);_(* \(#,##0.0\);_(* &quot;-&quot;??_);_(@_)">
                  <c:v>172.49083263548965</c:v>
                </c:pt>
                <c:pt idx="435" formatCode="_(* #,##0.0_);_(* \(#,##0.0\);_(* &quot;-&quot;??_);_(@_)">
                  <c:v>171.83352158982612</c:v>
                </c:pt>
                <c:pt idx="436" formatCode="_(* #,##0.0_);_(* \(#,##0.0\);_(* &quot;-&quot;??_);_(@_)">
                  <c:v>171.17621054416259</c:v>
                </c:pt>
                <c:pt idx="437" formatCode="_(* #,##0.0_);_(* \(#,##0.0\);_(* &quot;-&quot;??_);_(@_)">
                  <c:v>170.51889949849905</c:v>
                </c:pt>
                <c:pt idx="438" formatCode="_(* #,##0.0_);_(* \(#,##0.0\);_(* &quot;-&quot;??_);_(@_)">
                  <c:v>169.86158845283552</c:v>
                </c:pt>
                <c:pt idx="439" formatCode="_(* #,##0.0_);_(* \(#,##0.0\);_(* &quot;-&quot;??_);_(@_)">
                  <c:v>169.20427740717199</c:v>
                </c:pt>
                <c:pt idx="440" formatCode="_(* #,##0.0_);_(* \(#,##0.0\);_(* &quot;-&quot;??_);_(@_)">
                  <c:v>168.54696636150845</c:v>
                </c:pt>
                <c:pt idx="441" formatCode="_(* #,##0.0_);_(* \(#,##0.0\);_(* &quot;-&quot;??_);_(@_)">
                  <c:v>167.88965531584492</c:v>
                </c:pt>
                <c:pt idx="442" formatCode="_(* #,##0.0_);_(* \(#,##0.0\);_(* &quot;-&quot;??_);_(@_)">
                  <c:v>167.23234427018139</c:v>
                </c:pt>
                <c:pt idx="443" formatCode="_(* #,##0.0_);_(* \(#,##0.0\);_(* &quot;-&quot;??_);_(@_)">
                  <c:v>166.57503322451785</c:v>
                </c:pt>
                <c:pt idx="444" formatCode="_(* #,##0.0_);_(* \(#,##0.0\);_(* &quot;-&quot;??_);_(@_)">
                  <c:v>165.91772217885432</c:v>
                </c:pt>
                <c:pt idx="445" formatCode="_(* #,##0.0_);_(* \(#,##0.0\);_(* &quot;-&quot;??_);_(@_)">
                  <c:v>165.26041113319079</c:v>
                </c:pt>
                <c:pt idx="446" formatCode="_(* #,##0.0_);_(* \(#,##0.0\);_(* &quot;-&quot;??_);_(@_)">
                  <c:v>164.60310008752725</c:v>
                </c:pt>
                <c:pt idx="447" formatCode="_(* #,##0.0_);_(* \(#,##0.0\);_(* &quot;-&quot;??_);_(@_)">
                  <c:v>163.94578904186372</c:v>
                </c:pt>
                <c:pt idx="448" formatCode="_(* #,##0.0_);_(* \(#,##0.0\);_(* &quot;-&quot;??_);_(@_)">
                  <c:v>163.28847799620019</c:v>
                </c:pt>
                <c:pt idx="449" formatCode="_(* #,##0.0_);_(* \(#,##0.0\);_(* &quot;-&quot;??_);_(@_)">
                  <c:v>162.63116695053665</c:v>
                </c:pt>
                <c:pt idx="450" formatCode="_(* #,##0.0_);_(* \(#,##0.0\);_(* &quot;-&quot;??_);_(@_)">
                  <c:v>161.97385590487312</c:v>
                </c:pt>
                <c:pt idx="451" formatCode="_(* #,##0.0_);_(* \(#,##0.0\);_(* &quot;-&quot;??_);_(@_)">
                  <c:v>161.31654485920959</c:v>
                </c:pt>
                <c:pt idx="452" formatCode="_(* #,##0.0_);_(* \(#,##0.0\);_(* &quot;-&quot;??_);_(@_)">
                  <c:v>160.65923381354605</c:v>
                </c:pt>
                <c:pt idx="453" formatCode="_(* #,##0.0_);_(* \(#,##0.0\);_(* &quot;-&quot;??_);_(@_)">
                  <c:v>160.00192276788252</c:v>
                </c:pt>
                <c:pt idx="454" formatCode="_(* #,##0.0_);_(* \(#,##0.0\);_(* &quot;-&quot;??_);_(@_)">
                  <c:v>159.34461172221899</c:v>
                </c:pt>
                <c:pt idx="455" formatCode="_(* #,##0.0_);_(* \(#,##0.0\);_(* &quot;-&quot;??_);_(@_)">
                  <c:v>158.68730067655545</c:v>
                </c:pt>
                <c:pt idx="456" formatCode="_(* #,##0.0_);_(* \(#,##0.0\);_(* &quot;-&quot;??_);_(@_)">
                  <c:v>158.02998963089192</c:v>
                </c:pt>
                <c:pt idx="457" formatCode="_(* #,##0.0_);_(* \(#,##0.0\);_(* &quot;-&quot;??_);_(@_)">
                  <c:v>157.37267858522839</c:v>
                </c:pt>
                <c:pt idx="458" formatCode="_(* #,##0.0_);_(* \(#,##0.0\);_(* &quot;-&quot;??_);_(@_)">
                  <c:v>156.71536753956485</c:v>
                </c:pt>
                <c:pt idx="459" formatCode="_(* #,##0.0_);_(* \(#,##0.0\);_(* &quot;-&quot;??_);_(@_)">
                  <c:v>156.05805649390132</c:v>
                </c:pt>
                <c:pt idx="460" formatCode="_(* #,##0.0_);_(* \(#,##0.0\);_(* &quot;-&quot;??_);_(@_)">
                  <c:v>155.40074544823779</c:v>
                </c:pt>
                <c:pt idx="461" formatCode="_(* #,##0.0_);_(* \(#,##0.0\);_(* &quot;-&quot;??_);_(@_)">
                  <c:v>154.74343440257425</c:v>
                </c:pt>
                <c:pt idx="462" formatCode="_(* #,##0.0_);_(* \(#,##0.0\);_(* &quot;-&quot;??_);_(@_)">
                  <c:v>154.08612335691072</c:v>
                </c:pt>
                <c:pt idx="463" formatCode="_(* #,##0.0_);_(* \(#,##0.0\);_(* &quot;-&quot;??_);_(@_)">
                  <c:v>153.42881231124719</c:v>
                </c:pt>
                <c:pt idx="464" formatCode="_(* #,##0.0_);_(* \(#,##0.0\);_(* &quot;-&quot;??_);_(@_)">
                  <c:v>152.77150126558365</c:v>
                </c:pt>
                <c:pt idx="465" formatCode="_(* #,##0.0_);_(* \(#,##0.0\);_(* &quot;-&quot;??_);_(@_)">
                  <c:v>152.11419021992012</c:v>
                </c:pt>
                <c:pt idx="466" formatCode="_(* #,##0.0_);_(* \(#,##0.0\);_(* &quot;-&quot;??_);_(@_)">
                  <c:v>151.45687917425658</c:v>
                </c:pt>
                <c:pt idx="467" formatCode="_(* #,##0.0_);_(* \(#,##0.0\);_(* &quot;-&quot;??_);_(@_)">
                  <c:v>150.79956812859305</c:v>
                </c:pt>
                <c:pt idx="468" formatCode="_(* #,##0.0_);_(* \(#,##0.0\);_(* &quot;-&quot;??_);_(@_)">
                  <c:v>150.14225708292952</c:v>
                </c:pt>
                <c:pt idx="469" formatCode="_(* #,##0.0_);_(* \(#,##0.0\);_(* &quot;-&quot;??_);_(@_)">
                  <c:v>149.48494603726598</c:v>
                </c:pt>
                <c:pt idx="470" formatCode="_(* #,##0.0_);_(* \(#,##0.0\);_(* &quot;-&quot;??_);_(@_)">
                  <c:v>148.82763499160245</c:v>
                </c:pt>
                <c:pt idx="471" formatCode="_(* #,##0.0_);_(* \(#,##0.0\);_(* &quot;-&quot;??_);_(@_)">
                  <c:v>148.17032394593892</c:v>
                </c:pt>
                <c:pt idx="472" formatCode="_(* #,##0.0_);_(* \(#,##0.0\);_(* &quot;-&quot;??_);_(@_)">
                  <c:v>147.51301290027538</c:v>
                </c:pt>
                <c:pt idx="473" formatCode="_(* #,##0.0_);_(* \(#,##0.0\);_(* &quot;-&quot;??_);_(@_)">
                  <c:v>146.85570185461185</c:v>
                </c:pt>
                <c:pt idx="474" formatCode="_(* #,##0.0_);_(* \(#,##0.0\);_(* &quot;-&quot;??_);_(@_)">
                  <c:v>146.19839080894832</c:v>
                </c:pt>
                <c:pt idx="475" formatCode="_(* #,##0.0_);_(* \(#,##0.0\);_(* &quot;-&quot;??_);_(@_)">
                  <c:v>145.54107976328478</c:v>
                </c:pt>
                <c:pt idx="476" formatCode="_(* #,##0.0_);_(* \(#,##0.0\);_(* &quot;-&quot;??_);_(@_)">
                  <c:v>144.88376871762125</c:v>
                </c:pt>
                <c:pt idx="477" formatCode="_(* #,##0.0_);_(* \(#,##0.0\);_(* &quot;-&quot;??_);_(@_)">
                  <c:v>144.22645767195772</c:v>
                </c:pt>
                <c:pt idx="478" formatCode="_(* #,##0.0_);_(* \(#,##0.0\);_(* &quot;-&quot;??_);_(@_)">
                  <c:v>143.56914662629418</c:v>
                </c:pt>
                <c:pt idx="479" formatCode="_(* #,##0.0_);_(* \(#,##0.0\);_(* &quot;-&quot;??_);_(@_)">
                  <c:v>142.91183558063065</c:v>
                </c:pt>
                <c:pt idx="480" formatCode="_(* #,##0.0_);_(* \(#,##0.0\);_(* &quot;-&quot;??_);_(@_)">
                  <c:v>142.25452453496712</c:v>
                </c:pt>
                <c:pt idx="481" formatCode="_(* #,##0.0_);_(* \(#,##0.0\);_(* &quot;-&quot;??_);_(@_)">
                  <c:v>141.59721348930358</c:v>
                </c:pt>
                <c:pt idx="482" formatCode="_(* #,##0.0_);_(* \(#,##0.0\);_(* &quot;-&quot;??_);_(@_)">
                  <c:v>140.93990244364005</c:v>
                </c:pt>
                <c:pt idx="483" formatCode="_(* #,##0.0_);_(* \(#,##0.0\);_(* &quot;-&quot;??_);_(@_)">
                  <c:v>140.28259139797652</c:v>
                </c:pt>
                <c:pt idx="484" formatCode="_(* #,##0.0_);_(* \(#,##0.0\);_(* &quot;-&quot;??_);_(@_)">
                  <c:v>139.62528035231298</c:v>
                </c:pt>
                <c:pt idx="485" formatCode="_(* #,##0.0_);_(* \(#,##0.0\);_(* &quot;-&quot;??_);_(@_)">
                  <c:v>138.96796930664945</c:v>
                </c:pt>
                <c:pt idx="486" formatCode="_(* #,##0.0_);_(* \(#,##0.0\);_(* &quot;-&quot;??_);_(@_)">
                  <c:v>138.31065826098592</c:v>
                </c:pt>
                <c:pt idx="487" formatCode="_(* #,##0.0_);_(* \(#,##0.0\);_(* &quot;-&quot;??_);_(@_)">
                  <c:v>137.65334721532238</c:v>
                </c:pt>
                <c:pt idx="488" formatCode="_(* #,##0.0_);_(* \(#,##0.0\);_(* &quot;-&quot;??_);_(@_)">
                  <c:v>136.99603616965885</c:v>
                </c:pt>
                <c:pt idx="489" formatCode="_(* #,##0.0_);_(* \(#,##0.0\);_(* &quot;-&quot;??_);_(@_)">
                  <c:v>136.33872512399532</c:v>
                </c:pt>
                <c:pt idx="490" formatCode="_(* #,##0.0_);_(* \(#,##0.0\);_(* &quot;-&quot;??_);_(@_)">
                  <c:v>135.68141407833178</c:v>
                </c:pt>
                <c:pt idx="491" formatCode="_(* #,##0.0_);_(* \(#,##0.0\);_(* &quot;-&quot;??_);_(@_)">
                  <c:v>135.02410303266825</c:v>
                </c:pt>
                <c:pt idx="492" formatCode="_(* #,##0.0_);_(* \(#,##0.0\);_(* &quot;-&quot;??_);_(@_)">
                  <c:v>134.36679198700472</c:v>
                </c:pt>
                <c:pt idx="493" formatCode="_(* #,##0.0_);_(* \(#,##0.0\);_(* &quot;-&quot;??_);_(@_)">
                  <c:v>133.70948094134118</c:v>
                </c:pt>
                <c:pt idx="494" formatCode="_(* #,##0.0_);_(* \(#,##0.0\);_(* &quot;-&quot;??_);_(@_)">
                  <c:v>133.05216989567765</c:v>
                </c:pt>
                <c:pt idx="495" formatCode="_(* #,##0.0_);_(* \(#,##0.0\);_(* &quot;-&quot;??_);_(@_)">
                  <c:v>132.39485885001412</c:v>
                </c:pt>
                <c:pt idx="496" formatCode="_(* #,##0.0_);_(* \(#,##0.0\);_(* &quot;-&quot;??_);_(@_)">
                  <c:v>131.73754780435058</c:v>
                </c:pt>
                <c:pt idx="497" formatCode="_(* #,##0.0_);_(* \(#,##0.0\);_(* &quot;-&quot;??_);_(@_)">
                  <c:v>131.08023675868705</c:v>
                </c:pt>
                <c:pt idx="498" formatCode="_(* #,##0.0_);_(* \(#,##0.0\);_(* &quot;-&quot;??_);_(@_)">
                  <c:v>130.42292571302352</c:v>
                </c:pt>
                <c:pt idx="499" formatCode="_(* #,##0.0_);_(* \(#,##0.0\);_(* &quot;-&quot;??_);_(@_)">
                  <c:v>129.76561466735998</c:v>
                </c:pt>
                <c:pt idx="500" formatCode="_(* #,##0.0_);_(* \(#,##0.0\);_(* &quot;-&quot;??_);_(@_)">
                  <c:v>129.10830362169645</c:v>
                </c:pt>
                <c:pt idx="501" formatCode="_(* #,##0.0_);_(* \(#,##0.0\);_(* &quot;-&quot;??_);_(@_)">
                  <c:v>128.45099257603292</c:v>
                </c:pt>
                <c:pt idx="502" formatCode="_(* #,##0.0_);_(* \(#,##0.0\);_(* &quot;-&quot;??_);_(@_)">
                  <c:v>127.79368153036938</c:v>
                </c:pt>
                <c:pt idx="503" formatCode="_(* #,##0.0_);_(* \(#,##0.0\);_(* &quot;-&quot;??_);_(@_)">
                  <c:v>127.13637048470585</c:v>
                </c:pt>
                <c:pt idx="504" formatCode="_(* #,##0.0_);_(* \(#,##0.0\);_(* &quot;-&quot;??_);_(@_)">
                  <c:v>126.47905943904232</c:v>
                </c:pt>
                <c:pt idx="505" formatCode="_(* #,##0.0_);_(* \(#,##0.0\);_(* &quot;-&quot;??_);_(@_)">
                  <c:v>125.82174839337878</c:v>
                </c:pt>
                <c:pt idx="506" formatCode="_(* #,##0.0_);_(* \(#,##0.0\);_(* &quot;-&quot;??_);_(@_)">
                  <c:v>125.16443734771525</c:v>
                </c:pt>
                <c:pt idx="507" formatCode="_(* #,##0.0_);_(* \(#,##0.0\);_(* &quot;-&quot;??_);_(@_)">
                  <c:v>124.50712630205172</c:v>
                </c:pt>
                <c:pt idx="508" formatCode="_(* #,##0.0_);_(* \(#,##0.0\);_(* &quot;-&quot;??_);_(@_)">
                  <c:v>123.84981525638818</c:v>
                </c:pt>
                <c:pt idx="509" formatCode="_(* #,##0.0_);_(* \(#,##0.0\);_(* &quot;-&quot;??_);_(@_)">
                  <c:v>123.19250421072465</c:v>
                </c:pt>
                <c:pt idx="510" formatCode="_(* #,##0.0_);_(* \(#,##0.0\);_(* &quot;-&quot;??_);_(@_)">
                  <c:v>122.53519316506112</c:v>
                </c:pt>
                <c:pt idx="511" formatCode="_(* #,##0.0_);_(* \(#,##0.0\);_(* &quot;-&quot;??_);_(@_)">
                  <c:v>121.87788211939758</c:v>
                </c:pt>
                <c:pt idx="512" formatCode="_(* #,##0.0_);_(* \(#,##0.0\);_(* &quot;-&quot;??_);_(@_)">
                  <c:v>121.22057107373405</c:v>
                </c:pt>
                <c:pt idx="513" formatCode="_(* #,##0.0_);_(* \(#,##0.0\);_(* &quot;-&quot;??_);_(@_)">
                  <c:v>120.56326002807052</c:v>
                </c:pt>
                <c:pt idx="514" formatCode="_(* #,##0.0_);_(* \(#,##0.0\);_(* &quot;-&quot;??_);_(@_)">
                  <c:v>119.90594898240698</c:v>
                </c:pt>
                <c:pt idx="515" formatCode="_(* #,##0.0_);_(* \(#,##0.0\);_(* &quot;-&quot;??_);_(@_)">
                  <c:v>119.24863793674345</c:v>
                </c:pt>
                <c:pt idx="516" formatCode="_(* #,##0.0_);_(* \(#,##0.0\);_(* &quot;-&quot;??_);_(@_)">
                  <c:v>118.59132689107992</c:v>
                </c:pt>
                <c:pt idx="517" formatCode="_(* #,##0.0_);_(* \(#,##0.0\);_(* &quot;-&quot;??_);_(@_)">
                  <c:v>117.93401584541638</c:v>
                </c:pt>
                <c:pt idx="518" formatCode="_(* #,##0.0_);_(* \(#,##0.0\);_(* &quot;-&quot;??_);_(@_)">
                  <c:v>117.27670479975285</c:v>
                </c:pt>
                <c:pt idx="519" formatCode="_(* #,##0.0_);_(* \(#,##0.0\);_(* &quot;-&quot;??_);_(@_)">
                  <c:v>116.61939375408932</c:v>
                </c:pt>
                <c:pt idx="520" formatCode="_(* #,##0.0_);_(* \(#,##0.0\);_(* &quot;-&quot;??_);_(@_)">
                  <c:v>115.96208270842578</c:v>
                </c:pt>
                <c:pt idx="521" formatCode="_(* #,##0.0_);_(* \(#,##0.0\);_(* &quot;-&quot;??_);_(@_)">
                  <c:v>115.30477166276225</c:v>
                </c:pt>
                <c:pt idx="522" formatCode="_(* #,##0.0_);_(* \(#,##0.0\);_(* &quot;-&quot;??_);_(@_)">
                  <c:v>114.64746061709872</c:v>
                </c:pt>
                <c:pt idx="523" formatCode="_(* #,##0.0_);_(* \(#,##0.0\);_(* &quot;-&quot;??_);_(@_)">
                  <c:v>113.99014957143518</c:v>
                </c:pt>
                <c:pt idx="524" formatCode="_(* #,##0.0_);_(* \(#,##0.0\);_(* &quot;-&quot;??_);_(@_)">
                  <c:v>113.33283852577165</c:v>
                </c:pt>
                <c:pt idx="525" formatCode="_(* #,##0.0_);_(* \(#,##0.0\);_(* &quot;-&quot;??_);_(@_)">
                  <c:v>112.018216434444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47C-4FFE-9F24-D1D2E5659090}"/>
            </c:ext>
          </c:extLst>
        </c:ser>
        <c:ser>
          <c:idx val="2"/>
          <c:order val="2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525"/>
            <c:marker>
              <c:symbol val="circle"/>
              <c:size val="8"/>
              <c:spPr>
                <a:solidFill>
                  <a:srgbClr val="C00000"/>
                </a:solidFill>
                <a:ln w="95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47C-4FFE-9F24-D1D2E5659090}"/>
              </c:ext>
            </c:extLst>
          </c:dPt>
          <c:xVal>
            <c:numRef>
              <c:f>Hárok1!$AZ$5:$AZ$535</c:f>
              <c:numCache>
                <c:formatCode>General</c:formatCode>
                <c:ptCount val="5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</c:numCache>
            </c:numRef>
          </c:xVal>
          <c:yVal>
            <c:numRef>
              <c:f>Hárok1!$BD$5:$BD$535</c:f>
              <c:numCache>
                <c:formatCode>General</c:formatCode>
                <c:ptCount val="531"/>
                <c:pt idx="525" formatCode="_(* #,##0.00_);_(* \(#,##0.00\);_(* &quot;-&quot;??_);_(@_)">
                  <c:v>112.018216434444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47C-4FFE-9F24-D1D2E56590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9650976"/>
        <c:axId val="689651632"/>
      </c:scatterChart>
      <c:valAx>
        <c:axId val="6896509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PE flow mcm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9651632"/>
        <c:crosses val="autoZero"/>
        <c:crossBetween val="midCat"/>
      </c:valAx>
      <c:valAx>
        <c:axId val="6896516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PE Rev. mEU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965097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PE flow vs. TTF DA pri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árok1!$N$4</c:f>
              <c:strCache>
                <c:ptCount val="1"/>
                <c:pt idx="0">
                  <c:v>GPE flow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árok1!$M$5:$M$2073</c:f>
              <c:numCache>
                <c:formatCode>m/d/yyyy</c:formatCode>
                <c:ptCount val="2069"/>
                <c:pt idx="0">
                  <c:v>42736</c:v>
                </c:pt>
                <c:pt idx="1">
                  <c:v>42737</c:v>
                </c:pt>
                <c:pt idx="2">
                  <c:v>42738</c:v>
                </c:pt>
                <c:pt idx="3">
                  <c:v>42739</c:v>
                </c:pt>
                <c:pt idx="4">
                  <c:v>42740</c:v>
                </c:pt>
                <c:pt idx="5">
                  <c:v>42741</c:v>
                </c:pt>
                <c:pt idx="6">
                  <c:v>42742</c:v>
                </c:pt>
                <c:pt idx="7">
                  <c:v>42743</c:v>
                </c:pt>
                <c:pt idx="8">
                  <c:v>42744</c:v>
                </c:pt>
                <c:pt idx="9">
                  <c:v>42745</c:v>
                </c:pt>
                <c:pt idx="10">
                  <c:v>42746</c:v>
                </c:pt>
                <c:pt idx="11">
                  <c:v>42747</c:v>
                </c:pt>
                <c:pt idx="12">
                  <c:v>42748</c:v>
                </c:pt>
                <c:pt idx="13">
                  <c:v>42749</c:v>
                </c:pt>
                <c:pt idx="14">
                  <c:v>42750</c:v>
                </c:pt>
                <c:pt idx="15">
                  <c:v>42751</c:v>
                </c:pt>
                <c:pt idx="16">
                  <c:v>42752</c:v>
                </c:pt>
                <c:pt idx="17">
                  <c:v>42753</c:v>
                </c:pt>
                <c:pt idx="18">
                  <c:v>42754</c:v>
                </c:pt>
                <c:pt idx="19">
                  <c:v>42755</c:v>
                </c:pt>
                <c:pt idx="20">
                  <c:v>42756</c:v>
                </c:pt>
                <c:pt idx="21">
                  <c:v>42757</c:v>
                </c:pt>
                <c:pt idx="22">
                  <c:v>42758</c:v>
                </c:pt>
                <c:pt idx="23">
                  <c:v>42759</c:v>
                </c:pt>
                <c:pt idx="24">
                  <c:v>42760</c:v>
                </c:pt>
                <c:pt idx="25">
                  <c:v>42761</c:v>
                </c:pt>
                <c:pt idx="26">
                  <c:v>42762</c:v>
                </c:pt>
                <c:pt idx="27">
                  <c:v>42763</c:v>
                </c:pt>
                <c:pt idx="28">
                  <c:v>42764</c:v>
                </c:pt>
                <c:pt idx="29">
                  <c:v>42765</c:v>
                </c:pt>
                <c:pt idx="30">
                  <c:v>42766</c:v>
                </c:pt>
                <c:pt idx="31">
                  <c:v>42767</c:v>
                </c:pt>
                <c:pt idx="32">
                  <c:v>42768</c:v>
                </c:pt>
                <c:pt idx="33">
                  <c:v>42769</c:v>
                </c:pt>
                <c:pt idx="34">
                  <c:v>42770</c:v>
                </c:pt>
                <c:pt idx="35">
                  <c:v>42771</c:v>
                </c:pt>
                <c:pt idx="36">
                  <c:v>42772</c:v>
                </c:pt>
                <c:pt idx="37">
                  <c:v>42773</c:v>
                </c:pt>
                <c:pt idx="38">
                  <c:v>42774</c:v>
                </c:pt>
                <c:pt idx="39">
                  <c:v>42775</c:v>
                </c:pt>
                <c:pt idx="40">
                  <c:v>42776</c:v>
                </c:pt>
                <c:pt idx="41">
                  <c:v>42777</c:v>
                </c:pt>
                <c:pt idx="42">
                  <c:v>42778</c:v>
                </c:pt>
                <c:pt idx="43">
                  <c:v>42779</c:v>
                </c:pt>
                <c:pt idx="44">
                  <c:v>42780</c:v>
                </c:pt>
                <c:pt idx="45">
                  <c:v>42781</c:v>
                </c:pt>
                <c:pt idx="46">
                  <c:v>42782</c:v>
                </c:pt>
                <c:pt idx="47">
                  <c:v>42783</c:v>
                </c:pt>
                <c:pt idx="48">
                  <c:v>42784</c:v>
                </c:pt>
                <c:pt idx="49">
                  <c:v>42785</c:v>
                </c:pt>
                <c:pt idx="50">
                  <c:v>42786</c:v>
                </c:pt>
                <c:pt idx="51">
                  <c:v>42787</c:v>
                </c:pt>
                <c:pt idx="52">
                  <c:v>42788</c:v>
                </c:pt>
                <c:pt idx="53">
                  <c:v>42789</c:v>
                </c:pt>
                <c:pt idx="54">
                  <c:v>42790</c:v>
                </c:pt>
                <c:pt idx="55">
                  <c:v>42791</c:v>
                </c:pt>
                <c:pt idx="56">
                  <c:v>42792</c:v>
                </c:pt>
                <c:pt idx="57">
                  <c:v>42793</c:v>
                </c:pt>
                <c:pt idx="58">
                  <c:v>42794</c:v>
                </c:pt>
                <c:pt idx="59">
                  <c:v>42795</c:v>
                </c:pt>
                <c:pt idx="60">
                  <c:v>42796</c:v>
                </c:pt>
                <c:pt idx="61">
                  <c:v>42797</c:v>
                </c:pt>
                <c:pt idx="62">
                  <c:v>42798</c:v>
                </c:pt>
                <c:pt idx="63">
                  <c:v>42799</c:v>
                </c:pt>
                <c:pt idx="64">
                  <c:v>42800</c:v>
                </c:pt>
                <c:pt idx="65">
                  <c:v>42801</c:v>
                </c:pt>
                <c:pt idx="66">
                  <c:v>42802</c:v>
                </c:pt>
                <c:pt idx="67">
                  <c:v>42803</c:v>
                </c:pt>
                <c:pt idx="68">
                  <c:v>42804</c:v>
                </c:pt>
                <c:pt idx="69">
                  <c:v>42805</c:v>
                </c:pt>
                <c:pt idx="70">
                  <c:v>42806</c:v>
                </c:pt>
                <c:pt idx="71">
                  <c:v>42807</c:v>
                </c:pt>
                <c:pt idx="72">
                  <c:v>42808</c:v>
                </c:pt>
                <c:pt idx="73">
                  <c:v>42809</c:v>
                </c:pt>
                <c:pt idx="74">
                  <c:v>42810</c:v>
                </c:pt>
                <c:pt idx="75">
                  <c:v>42811</c:v>
                </c:pt>
                <c:pt idx="76">
                  <c:v>42812</c:v>
                </c:pt>
                <c:pt idx="77">
                  <c:v>42813</c:v>
                </c:pt>
                <c:pt idx="78">
                  <c:v>42814</c:v>
                </c:pt>
                <c:pt idx="79">
                  <c:v>42815</c:v>
                </c:pt>
                <c:pt idx="80">
                  <c:v>42816</c:v>
                </c:pt>
                <c:pt idx="81">
                  <c:v>42817</c:v>
                </c:pt>
                <c:pt idx="82">
                  <c:v>42818</c:v>
                </c:pt>
                <c:pt idx="83">
                  <c:v>42819</c:v>
                </c:pt>
                <c:pt idx="84">
                  <c:v>42820</c:v>
                </c:pt>
                <c:pt idx="85">
                  <c:v>42821</c:v>
                </c:pt>
                <c:pt idx="86">
                  <c:v>42822</c:v>
                </c:pt>
                <c:pt idx="87">
                  <c:v>42823</c:v>
                </c:pt>
                <c:pt idx="88">
                  <c:v>42824</c:v>
                </c:pt>
                <c:pt idx="89">
                  <c:v>42825</c:v>
                </c:pt>
                <c:pt idx="90">
                  <c:v>42826</c:v>
                </c:pt>
                <c:pt idx="91">
                  <c:v>42827</c:v>
                </c:pt>
                <c:pt idx="92">
                  <c:v>42828</c:v>
                </c:pt>
                <c:pt idx="93">
                  <c:v>42829</c:v>
                </c:pt>
                <c:pt idx="94">
                  <c:v>42830</c:v>
                </c:pt>
                <c:pt idx="95">
                  <c:v>42831</c:v>
                </c:pt>
                <c:pt idx="96">
                  <c:v>42832</c:v>
                </c:pt>
                <c:pt idx="97">
                  <c:v>42833</c:v>
                </c:pt>
                <c:pt idx="98">
                  <c:v>42834</c:v>
                </c:pt>
                <c:pt idx="99">
                  <c:v>42835</c:v>
                </c:pt>
                <c:pt idx="100">
                  <c:v>42836</c:v>
                </c:pt>
                <c:pt idx="101">
                  <c:v>42837</c:v>
                </c:pt>
                <c:pt idx="102">
                  <c:v>42838</c:v>
                </c:pt>
                <c:pt idx="103">
                  <c:v>42839</c:v>
                </c:pt>
                <c:pt idx="104">
                  <c:v>42840</c:v>
                </c:pt>
                <c:pt idx="105">
                  <c:v>42841</c:v>
                </c:pt>
                <c:pt idx="106">
                  <c:v>42842</c:v>
                </c:pt>
                <c:pt idx="107">
                  <c:v>42843</c:v>
                </c:pt>
                <c:pt idx="108">
                  <c:v>42844</c:v>
                </c:pt>
                <c:pt idx="109">
                  <c:v>42845</c:v>
                </c:pt>
                <c:pt idx="110">
                  <c:v>42846</c:v>
                </c:pt>
                <c:pt idx="111">
                  <c:v>42847</c:v>
                </c:pt>
                <c:pt idx="112">
                  <c:v>42848</c:v>
                </c:pt>
                <c:pt idx="113">
                  <c:v>42849</c:v>
                </c:pt>
                <c:pt idx="114">
                  <c:v>42850</c:v>
                </c:pt>
                <c:pt idx="115">
                  <c:v>42851</c:v>
                </c:pt>
                <c:pt idx="116">
                  <c:v>42852</c:v>
                </c:pt>
                <c:pt idx="117">
                  <c:v>42853</c:v>
                </c:pt>
                <c:pt idx="118">
                  <c:v>42854</c:v>
                </c:pt>
                <c:pt idx="119">
                  <c:v>42855</c:v>
                </c:pt>
                <c:pt idx="120">
                  <c:v>42856</c:v>
                </c:pt>
                <c:pt idx="121">
                  <c:v>42857</c:v>
                </c:pt>
                <c:pt idx="122">
                  <c:v>42858</c:v>
                </c:pt>
                <c:pt idx="123">
                  <c:v>42859</c:v>
                </c:pt>
                <c:pt idx="124">
                  <c:v>42860</c:v>
                </c:pt>
                <c:pt idx="125">
                  <c:v>42861</c:v>
                </c:pt>
                <c:pt idx="126">
                  <c:v>42862</c:v>
                </c:pt>
                <c:pt idx="127">
                  <c:v>42863</c:v>
                </c:pt>
                <c:pt idx="128">
                  <c:v>42864</c:v>
                </c:pt>
                <c:pt idx="129">
                  <c:v>42865</c:v>
                </c:pt>
                <c:pt idx="130">
                  <c:v>42866</c:v>
                </c:pt>
                <c:pt idx="131">
                  <c:v>42867</c:v>
                </c:pt>
                <c:pt idx="132">
                  <c:v>42868</c:v>
                </c:pt>
                <c:pt idx="133">
                  <c:v>42869</c:v>
                </c:pt>
                <c:pt idx="134">
                  <c:v>42870</c:v>
                </c:pt>
                <c:pt idx="135">
                  <c:v>42871</c:v>
                </c:pt>
                <c:pt idx="136">
                  <c:v>42872</c:v>
                </c:pt>
                <c:pt idx="137">
                  <c:v>42873</c:v>
                </c:pt>
                <c:pt idx="138">
                  <c:v>42874</c:v>
                </c:pt>
                <c:pt idx="139">
                  <c:v>42875</c:v>
                </c:pt>
                <c:pt idx="140">
                  <c:v>42876</c:v>
                </c:pt>
                <c:pt idx="141">
                  <c:v>42877</c:v>
                </c:pt>
                <c:pt idx="142">
                  <c:v>42878</c:v>
                </c:pt>
                <c:pt idx="143">
                  <c:v>42879</c:v>
                </c:pt>
                <c:pt idx="144">
                  <c:v>42880</c:v>
                </c:pt>
                <c:pt idx="145">
                  <c:v>42881</c:v>
                </c:pt>
                <c:pt idx="146">
                  <c:v>42882</c:v>
                </c:pt>
                <c:pt idx="147">
                  <c:v>42883</c:v>
                </c:pt>
                <c:pt idx="148">
                  <c:v>42884</c:v>
                </c:pt>
                <c:pt idx="149">
                  <c:v>42885</c:v>
                </c:pt>
                <c:pt idx="150">
                  <c:v>42886</c:v>
                </c:pt>
                <c:pt idx="151">
                  <c:v>42887</c:v>
                </c:pt>
                <c:pt idx="152">
                  <c:v>42888</c:v>
                </c:pt>
                <c:pt idx="153">
                  <c:v>42889</c:v>
                </c:pt>
                <c:pt idx="154">
                  <c:v>42890</c:v>
                </c:pt>
                <c:pt idx="155">
                  <c:v>42891</c:v>
                </c:pt>
                <c:pt idx="156">
                  <c:v>42892</c:v>
                </c:pt>
                <c:pt idx="157">
                  <c:v>42893</c:v>
                </c:pt>
                <c:pt idx="158">
                  <c:v>42894</c:v>
                </c:pt>
                <c:pt idx="159">
                  <c:v>42895</c:v>
                </c:pt>
                <c:pt idx="160">
                  <c:v>42896</c:v>
                </c:pt>
                <c:pt idx="161">
                  <c:v>42897</c:v>
                </c:pt>
                <c:pt idx="162">
                  <c:v>42898</c:v>
                </c:pt>
                <c:pt idx="163">
                  <c:v>42899</c:v>
                </c:pt>
                <c:pt idx="164">
                  <c:v>42900</c:v>
                </c:pt>
                <c:pt idx="165">
                  <c:v>42901</c:v>
                </c:pt>
                <c:pt idx="166">
                  <c:v>42902</c:v>
                </c:pt>
                <c:pt idx="167">
                  <c:v>42903</c:v>
                </c:pt>
                <c:pt idx="168">
                  <c:v>42904</c:v>
                </c:pt>
                <c:pt idx="169">
                  <c:v>42905</c:v>
                </c:pt>
                <c:pt idx="170">
                  <c:v>42906</c:v>
                </c:pt>
                <c:pt idx="171">
                  <c:v>42907</c:v>
                </c:pt>
                <c:pt idx="172">
                  <c:v>42908</c:v>
                </c:pt>
                <c:pt idx="173">
                  <c:v>42909</c:v>
                </c:pt>
                <c:pt idx="174">
                  <c:v>42910</c:v>
                </c:pt>
                <c:pt idx="175">
                  <c:v>42911</c:v>
                </c:pt>
                <c:pt idx="176">
                  <c:v>42912</c:v>
                </c:pt>
                <c:pt idx="177">
                  <c:v>42913</c:v>
                </c:pt>
                <c:pt idx="178">
                  <c:v>42914</c:v>
                </c:pt>
                <c:pt idx="179">
                  <c:v>42915</c:v>
                </c:pt>
                <c:pt idx="180">
                  <c:v>42916</c:v>
                </c:pt>
                <c:pt idx="181">
                  <c:v>42917</c:v>
                </c:pt>
                <c:pt idx="182">
                  <c:v>42918</c:v>
                </c:pt>
                <c:pt idx="183">
                  <c:v>42919</c:v>
                </c:pt>
                <c:pt idx="184">
                  <c:v>42920</c:v>
                </c:pt>
                <c:pt idx="185">
                  <c:v>42921</c:v>
                </c:pt>
                <c:pt idx="186">
                  <c:v>42922</c:v>
                </c:pt>
                <c:pt idx="187">
                  <c:v>42923</c:v>
                </c:pt>
                <c:pt idx="188">
                  <c:v>42924</c:v>
                </c:pt>
                <c:pt idx="189">
                  <c:v>42925</c:v>
                </c:pt>
                <c:pt idx="190">
                  <c:v>42926</c:v>
                </c:pt>
                <c:pt idx="191">
                  <c:v>42927</c:v>
                </c:pt>
                <c:pt idx="192">
                  <c:v>42928</c:v>
                </c:pt>
                <c:pt idx="193">
                  <c:v>42929</c:v>
                </c:pt>
                <c:pt idx="194">
                  <c:v>42930</c:v>
                </c:pt>
                <c:pt idx="195">
                  <c:v>42931</c:v>
                </c:pt>
                <c:pt idx="196">
                  <c:v>42932</c:v>
                </c:pt>
                <c:pt idx="197">
                  <c:v>42933</c:v>
                </c:pt>
                <c:pt idx="198">
                  <c:v>42934</c:v>
                </c:pt>
                <c:pt idx="199">
                  <c:v>42935</c:v>
                </c:pt>
                <c:pt idx="200">
                  <c:v>42936</c:v>
                </c:pt>
                <c:pt idx="201">
                  <c:v>42937</c:v>
                </c:pt>
                <c:pt idx="202">
                  <c:v>42938</c:v>
                </c:pt>
                <c:pt idx="203">
                  <c:v>42939</c:v>
                </c:pt>
                <c:pt idx="204">
                  <c:v>42940</c:v>
                </c:pt>
                <c:pt idx="205">
                  <c:v>42941</c:v>
                </c:pt>
                <c:pt idx="206">
                  <c:v>42942</c:v>
                </c:pt>
                <c:pt idx="207">
                  <c:v>42943</c:v>
                </c:pt>
                <c:pt idx="208">
                  <c:v>42944</c:v>
                </c:pt>
                <c:pt idx="209">
                  <c:v>42945</c:v>
                </c:pt>
                <c:pt idx="210">
                  <c:v>42946</c:v>
                </c:pt>
                <c:pt idx="211">
                  <c:v>42947</c:v>
                </c:pt>
                <c:pt idx="212">
                  <c:v>42948</c:v>
                </c:pt>
                <c:pt idx="213">
                  <c:v>42949</c:v>
                </c:pt>
                <c:pt idx="214">
                  <c:v>42950</c:v>
                </c:pt>
                <c:pt idx="215">
                  <c:v>42951</c:v>
                </c:pt>
                <c:pt idx="216">
                  <c:v>42952</c:v>
                </c:pt>
                <c:pt idx="217">
                  <c:v>42953</c:v>
                </c:pt>
                <c:pt idx="218">
                  <c:v>42954</c:v>
                </c:pt>
                <c:pt idx="219">
                  <c:v>42955</c:v>
                </c:pt>
                <c:pt idx="220">
                  <c:v>42956</c:v>
                </c:pt>
                <c:pt idx="221">
                  <c:v>42957</c:v>
                </c:pt>
                <c:pt idx="222">
                  <c:v>42958</c:v>
                </c:pt>
                <c:pt idx="223">
                  <c:v>42959</c:v>
                </c:pt>
                <c:pt idx="224">
                  <c:v>42960</c:v>
                </c:pt>
                <c:pt idx="225">
                  <c:v>42961</c:v>
                </c:pt>
                <c:pt idx="226">
                  <c:v>42962</c:v>
                </c:pt>
                <c:pt idx="227">
                  <c:v>42963</c:v>
                </c:pt>
                <c:pt idx="228">
                  <c:v>42964</c:v>
                </c:pt>
                <c:pt idx="229">
                  <c:v>42965</c:v>
                </c:pt>
                <c:pt idx="230">
                  <c:v>42966</c:v>
                </c:pt>
                <c:pt idx="231">
                  <c:v>42967</c:v>
                </c:pt>
                <c:pt idx="232">
                  <c:v>42968</c:v>
                </c:pt>
                <c:pt idx="233">
                  <c:v>42969</c:v>
                </c:pt>
                <c:pt idx="234">
                  <c:v>42970</c:v>
                </c:pt>
                <c:pt idx="235">
                  <c:v>42971</c:v>
                </c:pt>
                <c:pt idx="236">
                  <c:v>42972</c:v>
                </c:pt>
                <c:pt idx="237">
                  <c:v>42973</c:v>
                </c:pt>
                <c:pt idx="238">
                  <c:v>42974</c:v>
                </c:pt>
                <c:pt idx="239">
                  <c:v>42975</c:v>
                </c:pt>
                <c:pt idx="240">
                  <c:v>42976</c:v>
                </c:pt>
                <c:pt idx="241">
                  <c:v>42977</c:v>
                </c:pt>
                <c:pt idx="242">
                  <c:v>42978</c:v>
                </c:pt>
                <c:pt idx="243">
                  <c:v>42979</c:v>
                </c:pt>
                <c:pt idx="244">
                  <c:v>42980</c:v>
                </c:pt>
                <c:pt idx="245">
                  <c:v>42981</c:v>
                </c:pt>
                <c:pt idx="246">
                  <c:v>42982</c:v>
                </c:pt>
                <c:pt idx="247">
                  <c:v>42983</c:v>
                </c:pt>
                <c:pt idx="248">
                  <c:v>42984</c:v>
                </c:pt>
                <c:pt idx="249">
                  <c:v>42985</c:v>
                </c:pt>
                <c:pt idx="250">
                  <c:v>42986</c:v>
                </c:pt>
                <c:pt idx="251">
                  <c:v>42987</c:v>
                </c:pt>
                <c:pt idx="252">
                  <c:v>42988</c:v>
                </c:pt>
                <c:pt idx="253">
                  <c:v>42989</c:v>
                </c:pt>
                <c:pt idx="254">
                  <c:v>42990</c:v>
                </c:pt>
                <c:pt idx="255">
                  <c:v>42991</c:v>
                </c:pt>
                <c:pt idx="256">
                  <c:v>42992</c:v>
                </c:pt>
                <c:pt idx="257">
                  <c:v>42993</c:v>
                </c:pt>
                <c:pt idx="258">
                  <c:v>42994</c:v>
                </c:pt>
                <c:pt idx="259">
                  <c:v>42995</c:v>
                </c:pt>
                <c:pt idx="260">
                  <c:v>42996</c:v>
                </c:pt>
                <c:pt idx="261">
                  <c:v>42997</c:v>
                </c:pt>
                <c:pt idx="262">
                  <c:v>42998</c:v>
                </c:pt>
                <c:pt idx="263">
                  <c:v>42999</c:v>
                </c:pt>
                <c:pt idx="264">
                  <c:v>43000</c:v>
                </c:pt>
                <c:pt idx="265">
                  <c:v>43001</c:v>
                </c:pt>
                <c:pt idx="266">
                  <c:v>43002</c:v>
                </c:pt>
                <c:pt idx="267">
                  <c:v>43003</c:v>
                </c:pt>
                <c:pt idx="268">
                  <c:v>43004</c:v>
                </c:pt>
                <c:pt idx="269">
                  <c:v>43005</c:v>
                </c:pt>
                <c:pt idx="270">
                  <c:v>43006</c:v>
                </c:pt>
                <c:pt idx="271">
                  <c:v>43007</c:v>
                </c:pt>
                <c:pt idx="272">
                  <c:v>43008</c:v>
                </c:pt>
                <c:pt idx="273">
                  <c:v>43009</c:v>
                </c:pt>
                <c:pt idx="274">
                  <c:v>43010</c:v>
                </c:pt>
                <c:pt idx="275">
                  <c:v>43011</c:v>
                </c:pt>
                <c:pt idx="276">
                  <c:v>43012</c:v>
                </c:pt>
                <c:pt idx="277">
                  <c:v>43013</c:v>
                </c:pt>
                <c:pt idx="278">
                  <c:v>43014</c:v>
                </c:pt>
                <c:pt idx="279">
                  <c:v>43015</c:v>
                </c:pt>
                <c:pt idx="280">
                  <c:v>43016</c:v>
                </c:pt>
                <c:pt idx="281">
                  <c:v>43017</c:v>
                </c:pt>
                <c:pt idx="282">
                  <c:v>43018</c:v>
                </c:pt>
                <c:pt idx="283">
                  <c:v>43019</c:v>
                </c:pt>
                <c:pt idx="284">
                  <c:v>43020</c:v>
                </c:pt>
                <c:pt idx="285">
                  <c:v>43021</c:v>
                </c:pt>
                <c:pt idx="286">
                  <c:v>43022</c:v>
                </c:pt>
                <c:pt idx="287">
                  <c:v>43023</c:v>
                </c:pt>
                <c:pt idx="288">
                  <c:v>43024</c:v>
                </c:pt>
                <c:pt idx="289">
                  <c:v>43025</c:v>
                </c:pt>
                <c:pt idx="290">
                  <c:v>43026</c:v>
                </c:pt>
                <c:pt idx="291">
                  <c:v>43027</c:v>
                </c:pt>
                <c:pt idx="292">
                  <c:v>43028</c:v>
                </c:pt>
                <c:pt idx="293">
                  <c:v>43029</c:v>
                </c:pt>
                <c:pt idx="294">
                  <c:v>43030</c:v>
                </c:pt>
                <c:pt idx="295">
                  <c:v>43031</c:v>
                </c:pt>
                <c:pt idx="296">
                  <c:v>43032</c:v>
                </c:pt>
                <c:pt idx="297">
                  <c:v>43033</c:v>
                </c:pt>
                <c:pt idx="298">
                  <c:v>43034</c:v>
                </c:pt>
                <c:pt idx="299">
                  <c:v>43035</c:v>
                </c:pt>
                <c:pt idx="300">
                  <c:v>43036</c:v>
                </c:pt>
                <c:pt idx="301">
                  <c:v>43037</c:v>
                </c:pt>
                <c:pt idx="302">
                  <c:v>43038</c:v>
                </c:pt>
                <c:pt idx="303">
                  <c:v>43039</c:v>
                </c:pt>
                <c:pt idx="304">
                  <c:v>43040</c:v>
                </c:pt>
                <c:pt idx="305">
                  <c:v>43041</c:v>
                </c:pt>
                <c:pt idx="306">
                  <c:v>43042</c:v>
                </c:pt>
                <c:pt idx="307">
                  <c:v>43043</c:v>
                </c:pt>
                <c:pt idx="308">
                  <c:v>43044</c:v>
                </c:pt>
                <c:pt idx="309">
                  <c:v>43045</c:v>
                </c:pt>
                <c:pt idx="310">
                  <c:v>43046</c:v>
                </c:pt>
                <c:pt idx="311">
                  <c:v>43047</c:v>
                </c:pt>
                <c:pt idx="312">
                  <c:v>43048</c:v>
                </c:pt>
                <c:pt idx="313">
                  <c:v>43049</c:v>
                </c:pt>
                <c:pt idx="314">
                  <c:v>43050</c:v>
                </c:pt>
                <c:pt idx="315">
                  <c:v>43051</c:v>
                </c:pt>
                <c:pt idx="316">
                  <c:v>43052</c:v>
                </c:pt>
                <c:pt idx="317">
                  <c:v>43053</c:v>
                </c:pt>
                <c:pt idx="318">
                  <c:v>43054</c:v>
                </c:pt>
                <c:pt idx="319">
                  <c:v>43055</c:v>
                </c:pt>
                <c:pt idx="320">
                  <c:v>43056</c:v>
                </c:pt>
                <c:pt idx="321">
                  <c:v>43057</c:v>
                </c:pt>
                <c:pt idx="322">
                  <c:v>43058</c:v>
                </c:pt>
                <c:pt idx="323">
                  <c:v>43059</c:v>
                </c:pt>
                <c:pt idx="324">
                  <c:v>43060</c:v>
                </c:pt>
                <c:pt idx="325">
                  <c:v>43061</c:v>
                </c:pt>
                <c:pt idx="326">
                  <c:v>43062</c:v>
                </c:pt>
                <c:pt idx="327">
                  <c:v>43063</c:v>
                </c:pt>
                <c:pt idx="328">
                  <c:v>43064</c:v>
                </c:pt>
                <c:pt idx="329">
                  <c:v>43065</c:v>
                </c:pt>
                <c:pt idx="330">
                  <c:v>43066</c:v>
                </c:pt>
                <c:pt idx="331">
                  <c:v>43067</c:v>
                </c:pt>
                <c:pt idx="332">
                  <c:v>43068</c:v>
                </c:pt>
                <c:pt idx="333">
                  <c:v>43069</c:v>
                </c:pt>
                <c:pt idx="334">
                  <c:v>43070</c:v>
                </c:pt>
                <c:pt idx="335">
                  <c:v>43071</c:v>
                </c:pt>
                <c:pt idx="336">
                  <c:v>43072</c:v>
                </c:pt>
                <c:pt idx="337">
                  <c:v>43073</c:v>
                </c:pt>
                <c:pt idx="338">
                  <c:v>43074</c:v>
                </c:pt>
                <c:pt idx="339">
                  <c:v>43075</c:v>
                </c:pt>
                <c:pt idx="340">
                  <c:v>43076</c:v>
                </c:pt>
                <c:pt idx="341">
                  <c:v>43077</c:v>
                </c:pt>
                <c:pt idx="342">
                  <c:v>43078</c:v>
                </c:pt>
                <c:pt idx="343">
                  <c:v>43079</c:v>
                </c:pt>
                <c:pt idx="344">
                  <c:v>43080</c:v>
                </c:pt>
                <c:pt idx="345">
                  <c:v>43081</c:v>
                </c:pt>
                <c:pt idx="346">
                  <c:v>43082</c:v>
                </c:pt>
                <c:pt idx="347">
                  <c:v>43083</c:v>
                </c:pt>
                <c:pt idx="348">
                  <c:v>43084</c:v>
                </c:pt>
                <c:pt idx="349">
                  <c:v>43085</c:v>
                </c:pt>
                <c:pt idx="350">
                  <c:v>43086</c:v>
                </c:pt>
                <c:pt idx="351">
                  <c:v>43087</c:v>
                </c:pt>
                <c:pt idx="352">
                  <c:v>43088</c:v>
                </c:pt>
                <c:pt idx="353">
                  <c:v>43089</c:v>
                </c:pt>
                <c:pt idx="354">
                  <c:v>43090</c:v>
                </c:pt>
                <c:pt idx="355">
                  <c:v>43091</c:v>
                </c:pt>
                <c:pt idx="356">
                  <c:v>43092</c:v>
                </c:pt>
                <c:pt idx="357">
                  <c:v>43093</c:v>
                </c:pt>
                <c:pt idx="358">
                  <c:v>43094</c:v>
                </c:pt>
                <c:pt idx="359">
                  <c:v>43095</c:v>
                </c:pt>
                <c:pt idx="360">
                  <c:v>43096</c:v>
                </c:pt>
                <c:pt idx="361">
                  <c:v>43097</c:v>
                </c:pt>
                <c:pt idx="362">
                  <c:v>43098</c:v>
                </c:pt>
                <c:pt idx="363">
                  <c:v>43099</c:v>
                </c:pt>
                <c:pt idx="364">
                  <c:v>43100</c:v>
                </c:pt>
                <c:pt idx="365">
                  <c:v>43101</c:v>
                </c:pt>
                <c:pt idx="366">
                  <c:v>43102</c:v>
                </c:pt>
                <c:pt idx="367">
                  <c:v>43103</c:v>
                </c:pt>
                <c:pt idx="368">
                  <c:v>43104</c:v>
                </c:pt>
                <c:pt idx="369">
                  <c:v>43105</c:v>
                </c:pt>
                <c:pt idx="370">
                  <c:v>43106</c:v>
                </c:pt>
                <c:pt idx="371">
                  <c:v>43107</c:v>
                </c:pt>
                <c:pt idx="372">
                  <c:v>43108</c:v>
                </c:pt>
                <c:pt idx="373">
                  <c:v>43109</c:v>
                </c:pt>
                <c:pt idx="374">
                  <c:v>43110</c:v>
                </c:pt>
                <c:pt idx="375">
                  <c:v>43111</c:v>
                </c:pt>
                <c:pt idx="376">
                  <c:v>43112</c:v>
                </c:pt>
                <c:pt idx="377">
                  <c:v>43113</c:v>
                </c:pt>
                <c:pt idx="378">
                  <c:v>43114</c:v>
                </c:pt>
                <c:pt idx="379">
                  <c:v>43115</c:v>
                </c:pt>
                <c:pt idx="380">
                  <c:v>43116</c:v>
                </c:pt>
                <c:pt idx="381">
                  <c:v>43117</c:v>
                </c:pt>
                <c:pt idx="382">
                  <c:v>43118</c:v>
                </c:pt>
                <c:pt idx="383">
                  <c:v>43119</c:v>
                </c:pt>
                <c:pt idx="384">
                  <c:v>43120</c:v>
                </c:pt>
                <c:pt idx="385">
                  <c:v>43121</c:v>
                </c:pt>
                <c:pt idx="386">
                  <c:v>43122</c:v>
                </c:pt>
                <c:pt idx="387">
                  <c:v>43123</c:v>
                </c:pt>
                <c:pt idx="388">
                  <c:v>43124</c:v>
                </c:pt>
                <c:pt idx="389">
                  <c:v>43125</c:v>
                </c:pt>
                <c:pt idx="390">
                  <c:v>43126</c:v>
                </c:pt>
                <c:pt idx="391">
                  <c:v>43127</c:v>
                </c:pt>
                <c:pt idx="392">
                  <c:v>43128</c:v>
                </c:pt>
                <c:pt idx="393">
                  <c:v>43129</c:v>
                </c:pt>
                <c:pt idx="394">
                  <c:v>43130</c:v>
                </c:pt>
                <c:pt idx="395">
                  <c:v>43131</c:v>
                </c:pt>
                <c:pt idx="396">
                  <c:v>43132</c:v>
                </c:pt>
                <c:pt idx="397">
                  <c:v>43133</c:v>
                </c:pt>
                <c:pt idx="398">
                  <c:v>43134</c:v>
                </c:pt>
                <c:pt idx="399">
                  <c:v>43135</c:v>
                </c:pt>
                <c:pt idx="400">
                  <c:v>43136</c:v>
                </c:pt>
                <c:pt idx="401">
                  <c:v>43137</c:v>
                </c:pt>
                <c:pt idx="402">
                  <c:v>43138</c:v>
                </c:pt>
                <c:pt idx="403">
                  <c:v>43139</c:v>
                </c:pt>
                <c:pt idx="404">
                  <c:v>43140</c:v>
                </c:pt>
                <c:pt idx="405">
                  <c:v>43141</c:v>
                </c:pt>
                <c:pt idx="406">
                  <c:v>43142</c:v>
                </c:pt>
                <c:pt idx="407">
                  <c:v>43143</c:v>
                </c:pt>
                <c:pt idx="408">
                  <c:v>43144</c:v>
                </c:pt>
                <c:pt idx="409">
                  <c:v>43145</c:v>
                </c:pt>
                <c:pt idx="410">
                  <c:v>43146</c:v>
                </c:pt>
                <c:pt idx="411">
                  <c:v>43147</c:v>
                </c:pt>
                <c:pt idx="412">
                  <c:v>43148</c:v>
                </c:pt>
                <c:pt idx="413">
                  <c:v>43149</c:v>
                </c:pt>
                <c:pt idx="414">
                  <c:v>43150</c:v>
                </c:pt>
                <c:pt idx="415">
                  <c:v>43151</c:v>
                </c:pt>
                <c:pt idx="416">
                  <c:v>43152</c:v>
                </c:pt>
                <c:pt idx="417">
                  <c:v>43153</c:v>
                </c:pt>
                <c:pt idx="418">
                  <c:v>43154</c:v>
                </c:pt>
                <c:pt idx="419">
                  <c:v>43155</c:v>
                </c:pt>
                <c:pt idx="420">
                  <c:v>43156</c:v>
                </c:pt>
                <c:pt idx="421">
                  <c:v>43157</c:v>
                </c:pt>
                <c:pt idx="422">
                  <c:v>43158</c:v>
                </c:pt>
                <c:pt idx="423">
                  <c:v>43159</c:v>
                </c:pt>
                <c:pt idx="424">
                  <c:v>43160</c:v>
                </c:pt>
                <c:pt idx="425">
                  <c:v>43161</c:v>
                </c:pt>
                <c:pt idx="426">
                  <c:v>43162</c:v>
                </c:pt>
                <c:pt idx="427">
                  <c:v>43163</c:v>
                </c:pt>
                <c:pt idx="428">
                  <c:v>43164</c:v>
                </c:pt>
                <c:pt idx="429">
                  <c:v>43165</c:v>
                </c:pt>
                <c:pt idx="430">
                  <c:v>43166</c:v>
                </c:pt>
                <c:pt idx="431">
                  <c:v>43167</c:v>
                </c:pt>
                <c:pt idx="432">
                  <c:v>43168</c:v>
                </c:pt>
                <c:pt idx="433">
                  <c:v>43169</c:v>
                </c:pt>
                <c:pt idx="434">
                  <c:v>43170</c:v>
                </c:pt>
                <c:pt idx="435">
                  <c:v>43171</c:v>
                </c:pt>
                <c:pt idx="436">
                  <c:v>43172</c:v>
                </c:pt>
                <c:pt idx="437">
                  <c:v>43173</c:v>
                </c:pt>
                <c:pt idx="438">
                  <c:v>43174</c:v>
                </c:pt>
                <c:pt idx="439">
                  <c:v>43175</c:v>
                </c:pt>
                <c:pt idx="440">
                  <c:v>43176</c:v>
                </c:pt>
                <c:pt idx="441">
                  <c:v>43177</c:v>
                </c:pt>
                <c:pt idx="442">
                  <c:v>43178</c:v>
                </c:pt>
                <c:pt idx="443">
                  <c:v>43179</c:v>
                </c:pt>
                <c:pt idx="444">
                  <c:v>43180</c:v>
                </c:pt>
                <c:pt idx="445">
                  <c:v>43181</c:v>
                </c:pt>
                <c:pt idx="446">
                  <c:v>43182</c:v>
                </c:pt>
                <c:pt idx="447">
                  <c:v>43183</c:v>
                </c:pt>
                <c:pt idx="448">
                  <c:v>43184</c:v>
                </c:pt>
                <c:pt idx="449">
                  <c:v>43185</c:v>
                </c:pt>
                <c:pt idx="450">
                  <c:v>43186</c:v>
                </c:pt>
                <c:pt idx="451">
                  <c:v>43187</c:v>
                </c:pt>
                <c:pt idx="452">
                  <c:v>43188</c:v>
                </c:pt>
                <c:pt idx="453">
                  <c:v>43189</c:v>
                </c:pt>
                <c:pt idx="454">
                  <c:v>43190</c:v>
                </c:pt>
                <c:pt idx="455">
                  <c:v>43191</c:v>
                </c:pt>
                <c:pt idx="456">
                  <c:v>43192</c:v>
                </c:pt>
                <c:pt idx="457">
                  <c:v>43193</c:v>
                </c:pt>
                <c:pt idx="458">
                  <c:v>43194</c:v>
                </c:pt>
                <c:pt idx="459">
                  <c:v>43195</c:v>
                </c:pt>
                <c:pt idx="460">
                  <c:v>43196</c:v>
                </c:pt>
                <c:pt idx="461">
                  <c:v>43197</c:v>
                </c:pt>
                <c:pt idx="462">
                  <c:v>43198</c:v>
                </c:pt>
                <c:pt idx="463">
                  <c:v>43199</c:v>
                </c:pt>
                <c:pt idx="464">
                  <c:v>43200</c:v>
                </c:pt>
                <c:pt idx="465">
                  <c:v>43201</c:v>
                </c:pt>
                <c:pt idx="466">
                  <c:v>43202</c:v>
                </c:pt>
                <c:pt idx="467">
                  <c:v>43203</c:v>
                </c:pt>
                <c:pt idx="468">
                  <c:v>43204</c:v>
                </c:pt>
                <c:pt idx="469">
                  <c:v>43205</c:v>
                </c:pt>
                <c:pt idx="470">
                  <c:v>43206</c:v>
                </c:pt>
                <c:pt idx="471">
                  <c:v>43207</c:v>
                </c:pt>
                <c:pt idx="472">
                  <c:v>43208</c:v>
                </c:pt>
                <c:pt idx="473">
                  <c:v>43209</c:v>
                </c:pt>
                <c:pt idx="474">
                  <c:v>43210</c:v>
                </c:pt>
                <c:pt idx="475">
                  <c:v>43211</c:v>
                </c:pt>
                <c:pt idx="476">
                  <c:v>43212</c:v>
                </c:pt>
                <c:pt idx="477">
                  <c:v>43213</c:v>
                </c:pt>
                <c:pt idx="478">
                  <c:v>43214</c:v>
                </c:pt>
                <c:pt idx="479">
                  <c:v>43215</c:v>
                </c:pt>
                <c:pt idx="480">
                  <c:v>43216</c:v>
                </c:pt>
                <c:pt idx="481">
                  <c:v>43217</c:v>
                </c:pt>
                <c:pt idx="482">
                  <c:v>43218</c:v>
                </c:pt>
                <c:pt idx="483">
                  <c:v>43219</c:v>
                </c:pt>
                <c:pt idx="484">
                  <c:v>43220</c:v>
                </c:pt>
                <c:pt idx="485">
                  <c:v>43221</c:v>
                </c:pt>
                <c:pt idx="486">
                  <c:v>43222</c:v>
                </c:pt>
                <c:pt idx="487">
                  <c:v>43223</c:v>
                </c:pt>
                <c:pt idx="488">
                  <c:v>43224</c:v>
                </c:pt>
                <c:pt idx="489">
                  <c:v>43225</c:v>
                </c:pt>
                <c:pt idx="490">
                  <c:v>43226</c:v>
                </c:pt>
                <c:pt idx="491">
                  <c:v>43227</c:v>
                </c:pt>
                <c:pt idx="492">
                  <c:v>43228</c:v>
                </c:pt>
                <c:pt idx="493">
                  <c:v>43229</c:v>
                </c:pt>
                <c:pt idx="494">
                  <c:v>43230</c:v>
                </c:pt>
                <c:pt idx="495">
                  <c:v>43231</c:v>
                </c:pt>
                <c:pt idx="496">
                  <c:v>43232</c:v>
                </c:pt>
                <c:pt idx="497">
                  <c:v>43233</c:v>
                </c:pt>
                <c:pt idx="498">
                  <c:v>43234</c:v>
                </c:pt>
                <c:pt idx="499">
                  <c:v>43235</c:v>
                </c:pt>
                <c:pt idx="500">
                  <c:v>43236</c:v>
                </c:pt>
                <c:pt idx="501">
                  <c:v>43237</c:v>
                </c:pt>
                <c:pt idx="502">
                  <c:v>43238</c:v>
                </c:pt>
                <c:pt idx="503">
                  <c:v>43239</c:v>
                </c:pt>
                <c:pt idx="504">
                  <c:v>43240</c:v>
                </c:pt>
                <c:pt idx="505">
                  <c:v>43241</c:v>
                </c:pt>
                <c:pt idx="506">
                  <c:v>43242</c:v>
                </c:pt>
                <c:pt idx="507">
                  <c:v>43243</c:v>
                </c:pt>
                <c:pt idx="508">
                  <c:v>43244</c:v>
                </c:pt>
                <c:pt idx="509">
                  <c:v>43245</c:v>
                </c:pt>
                <c:pt idx="510">
                  <c:v>43246</c:v>
                </c:pt>
                <c:pt idx="511">
                  <c:v>43247</c:v>
                </c:pt>
                <c:pt idx="512">
                  <c:v>43248</c:v>
                </c:pt>
                <c:pt idx="513">
                  <c:v>43249</c:v>
                </c:pt>
                <c:pt idx="514">
                  <c:v>43250</c:v>
                </c:pt>
                <c:pt idx="515">
                  <c:v>43251</c:v>
                </c:pt>
                <c:pt idx="516">
                  <c:v>43252</c:v>
                </c:pt>
                <c:pt idx="517">
                  <c:v>43253</c:v>
                </c:pt>
                <c:pt idx="518">
                  <c:v>43254</c:v>
                </c:pt>
                <c:pt idx="519">
                  <c:v>43255</c:v>
                </c:pt>
                <c:pt idx="520">
                  <c:v>43256</c:v>
                </c:pt>
                <c:pt idx="521">
                  <c:v>43257</c:v>
                </c:pt>
                <c:pt idx="522">
                  <c:v>43258</c:v>
                </c:pt>
                <c:pt idx="523">
                  <c:v>43259</c:v>
                </c:pt>
                <c:pt idx="524">
                  <c:v>43260</c:v>
                </c:pt>
                <c:pt idx="525">
                  <c:v>43261</c:v>
                </c:pt>
                <c:pt idx="526">
                  <c:v>43262</c:v>
                </c:pt>
                <c:pt idx="527">
                  <c:v>43263</c:v>
                </c:pt>
                <c:pt idx="528">
                  <c:v>43264</c:v>
                </c:pt>
                <c:pt idx="529">
                  <c:v>43265</c:v>
                </c:pt>
                <c:pt idx="530">
                  <c:v>43266</c:v>
                </c:pt>
                <c:pt idx="531">
                  <c:v>43267</c:v>
                </c:pt>
                <c:pt idx="532">
                  <c:v>43268</c:v>
                </c:pt>
                <c:pt idx="533">
                  <c:v>43269</c:v>
                </c:pt>
                <c:pt idx="534">
                  <c:v>43270</c:v>
                </c:pt>
                <c:pt idx="535">
                  <c:v>43271</c:v>
                </c:pt>
                <c:pt idx="536">
                  <c:v>43272</c:v>
                </c:pt>
                <c:pt idx="537">
                  <c:v>43273</c:v>
                </c:pt>
                <c:pt idx="538">
                  <c:v>43274</c:v>
                </c:pt>
                <c:pt idx="539">
                  <c:v>43275</c:v>
                </c:pt>
                <c:pt idx="540">
                  <c:v>43276</c:v>
                </c:pt>
                <c:pt idx="541">
                  <c:v>43277</c:v>
                </c:pt>
                <c:pt idx="542">
                  <c:v>43278</c:v>
                </c:pt>
                <c:pt idx="543">
                  <c:v>43279</c:v>
                </c:pt>
                <c:pt idx="544">
                  <c:v>43280</c:v>
                </c:pt>
                <c:pt idx="545">
                  <c:v>43281</c:v>
                </c:pt>
                <c:pt idx="546">
                  <c:v>43282</c:v>
                </c:pt>
                <c:pt idx="547">
                  <c:v>43283</c:v>
                </c:pt>
                <c:pt idx="548">
                  <c:v>43284</c:v>
                </c:pt>
                <c:pt idx="549">
                  <c:v>43285</c:v>
                </c:pt>
                <c:pt idx="550">
                  <c:v>43286</c:v>
                </c:pt>
                <c:pt idx="551">
                  <c:v>43287</c:v>
                </c:pt>
                <c:pt idx="552">
                  <c:v>43288</c:v>
                </c:pt>
                <c:pt idx="553">
                  <c:v>43289</c:v>
                </c:pt>
                <c:pt idx="554">
                  <c:v>43290</c:v>
                </c:pt>
                <c:pt idx="555">
                  <c:v>43291</c:v>
                </c:pt>
                <c:pt idx="556">
                  <c:v>43292</c:v>
                </c:pt>
                <c:pt idx="557">
                  <c:v>43293</c:v>
                </c:pt>
                <c:pt idx="558">
                  <c:v>43294</c:v>
                </c:pt>
                <c:pt idx="559">
                  <c:v>43295</c:v>
                </c:pt>
                <c:pt idx="560">
                  <c:v>43296</c:v>
                </c:pt>
                <c:pt idx="561">
                  <c:v>43297</c:v>
                </c:pt>
                <c:pt idx="562">
                  <c:v>43298</c:v>
                </c:pt>
                <c:pt idx="563">
                  <c:v>43299</c:v>
                </c:pt>
                <c:pt idx="564">
                  <c:v>43300</c:v>
                </c:pt>
                <c:pt idx="565">
                  <c:v>43301</c:v>
                </c:pt>
                <c:pt idx="566">
                  <c:v>43302</c:v>
                </c:pt>
                <c:pt idx="567">
                  <c:v>43303</c:v>
                </c:pt>
                <c:pt idx="568">
                  <c:v>43304</c:v>
                </c:pt>
                <c:pt idx="569">
                  <c:v>43305</c:v>
                </c:pt>
                <c:pt idx="570">
                  <c:v>43306</c:v>
                </c:pt>
                <c:pt idx="571">
                  <c:v>43307</c:v>
                </c:pt>
                <c:pt idx="572">
                  <c:v>43308</c:v>
                </c:pt>
                <c:pt idx="573">
                  <c:v>43309</c:v>
                </c:pt>
                <c:pt idx="574">
                  <c:v>43310</c:v>
                </c:pt>
                <c:pt idx="575">
                  <c:v>43311</c:v>
                </c:pt>
                <c:pt idx="576">
                  <c:v>43312</c:v>
                </c:pt>
                <c:pt idx="577">
                  <c:v>43313</c:v>
                </c:pt>
                <c:pt idx="578">
                  <c:v>43314</c:v>
                </c:pt>
                <c:pt idx="579">
                  <c:v>43315</c:v>
                </c:pt>
                <c:pt idx="580">
                  <c:v>43316</c:v>
                </c:pt>
                <c:pt idx="581">
                  <c:v>43317</c:v>
                </c:pt>
                <c:pt idx="582">
                  <c:v>43318</c:v>
                </c:pt>
                <c:pt idx="583">
                  <c:v>43319</c:v>
                </c:pt>
                <c:pt idx="584">
                  <c:v>43320</c:v>
                </c:pt>
                <c:pt idx="585">
                  <c:v>43321</c:v>
                </c:pt>
                <c:pt idx="586">
                  <c:v>43322</c:v>
                </c:pt>
                <c:pt idx="587">
                  <c:v>43323</c:v>
                </c:pt>
                <c:pt idx="588">
                  <c:v>43324</c:v>
                </c:pt>
                <c:pt idx="589">
                  <c:v>43325</c:v>
                </c:pt>
                <c:pt idx="590">
                  <c:v>43326</c:v>
                </c:pt>
                <c:pt idx="591">
                  <c:v>43327</c:v>
                </c:pt>
                <c:pt idx="592">
                  <c:v>43328</c:v>
                </c:pt>
                <c:pt idx="593">
                  <c:v>43329</c:v>
                </c:pt>
                <c:pt idx="594">
                  <c:v>43330</c:v>
                </c:pt>
                <c:pt idx="595">
                  <c:v>43331</c:v>
                </c:pt>
                <c:pt idx="596">
                  <c:v>43332</c:v>
                </c:pt>
                <c:pt idx="597">
                  <c:v>43333</c:v>
                </c:pt>
                <c:pt idx="598">
                  <c:v>43334</c:v>
                </c:pt>
                <c:pt idx="599">
                  <c:v>43335</c:v>
                </c:pt>
                <c:pt idx="600">
                  <c:v>43336</c:v>
                </c:pt>
                <c:pt idx="601">
                  <c:v>43337</c:v>
                </c:pt>
                <c:pt idx="602">
                  <c:v>43338</c:v>
                </c:pt>
                <c:pt idx="603">
                  <c:v>43339</c:v>
                </c:pt>
                <c:pt idx="604">
                  <c:v>43340</c:v>
                </c:pt>
                <c:pt idx="605">
                  <c:v>43341</c:v>
                </c:pt>
                <c:pt idx="606">
                  <c:v>43342</c:v>
                </c:pt>
                <c:pt idx="607">
                  <c:v>43343</c:v>
                </c:pt>
                <c:pt idx="608">
                  <c:v>43344</c:v>
                </c:pt>
                <c:pt idx="609">
                  <c:v>43345</c:v>
                </c:pt>
                <c:pt idx="610">
                  <c:v>43346</c:v>
                </c:pt>
                <c:pt idx="611">
                  <c:v>43347</c:v>
                </c:pt>
                <c:pt idx="612">
                  <c:v>43348</c:v>
                </c:pt>
                <c:pt idx="613">
                  <c:v>43349</c:v>
                </c:pt>
                <c:pt idx="614">
                  <c:v>43350</c:v>
                </c:pt>
                <c:pt idx="615">
                  <c:v>43351</c:v>
                </c:pt>
                <c:pt idx="616">
                  <c:v>43352</c:v>
                </c:pt>
                <c:pt idx="617">
                  <c:v>43353</c:v>
                </c:pt>
                <c:pt idx="618">
                  <c:v>43354</c:v>
                </c:pt>
                <c:pt idx="619">
                  <c:v>43355</c:v>
                </c:pt>
                <c:pt idx="620">
                  <c:v>43356</c:v>
                </c:pt>
                <c:pt idx="621">
                  <c:v>43357</c:v>
                </c:pt>
                <c:pt idx="622">
                  <c:v>43358</c:v>
                </c:pt>
                <c:pt idx="623">
                  <c:v>43359</c:v>
                </c:pt>
                <c:pt idx="624">
                  <c:v>43360</c:v>
                </c:pt>
                <c:pt idx="625">
                  <c:v>43361</c:v>
                </c:pt>
                <c:pt idx="626">
                  <c:v>43362</c:v>
                </c:pt>
                <c:pt idx="627">
                  <c:v>43363</c:v>
                </c:pt>
                <c:pt idx="628">
                  <c:v>43364</c:v>
                </c:pt>
                <c:pt idx="629">
                  <c:v>43365</c:v>
                </c:pt>
                <c:pt idx="630">
                  <c:v>43366</c:v>
                </c:pt>
                <c:pt idx="631">
                  <c:v>43367</c:v>
                </c:pt>
                <c:pt idx="632">
                  <c:v>43368</c:v>
                </c:pt>
                <c:pt idx="633">
                  <c:v>43369</c:v>
                </c:pt>
                <c:pt idx="634">
                  <c:v>43370</c:v>
                </c:pt>
                <c:pt idx="635">
                  <c:v>43371</c:v>
                </c:pt>
                <c:pt idx="636">
                  <c:v>43372</c:v>
                </c:pt>
                <c:pt idx="637">
                  <c:v>43373</c:v>
                </c:pt>
                <c:pt idx="638">
                  <c:v>43374</c:v>
                </c:pt>
                <c:pt idx="639">
                  <c:v>43375</c:v>
                </c:pt>
                <c:pt idx="640">
                  <c:v>43376</c:v>
                </c:pt>
                <c:pt idx="641">
                  <c:v>43377</c:v>
                </c:pt>
                <c:pt idx="642">
                  <c:v>43378</c:v>
                </c:pt>
                <c:pt idx="643">
                  <c:v>43379</c:v>
                </c:pt>
                <c:pt idx="644">
                  <c:v>43380</c:v>
                </c:pt>
                <c:pt idx="645">
                  <c:v>43381</c:v>
                </c:pt>
                <c:pt idx="646">
                  <c:v>43382</c:v>
                </c:pt>
                <c:pt idx="647">
                  <c:v>43383</c:v>
                </c:pt>
                <c:pt idx="648">
                  <c:v>43384</c:v>
                </c:pt>
                <c:pt idx="649">
                  <c:v>43385</c:v>
                </c:pt>
                <c:pt idx="650">
                  <c:v>43386</c:v>
                </c:pt>
                <c:pt idx="651">
                  <c:v>43387</c:v>
                </c:pt>
                <c:pt idx="652">
                  <c:v>43388</c:v>
                </c:pt>
                <c:pt idx="653">
                  <c:v>43389</c:v>
                </c:pt>
                <c:pt idx="654">
                  <c:v>43390</c:v>
                </c:pt>
                <c:pt idx="655">
                  <c:v>43391</c:v>
                </c:pt>
                <c:pt idx="656">
                  <c:v>43392</c:v>
                </c:pt>
                <c:pt idx="657">
                  <c:v>43393</c:v>
                </c:pt>
                <c:pt idx="658">
                  <c:v>43394</c:v>
                </c:pt>
                <c:pt idx="659">
                  <c:v>43395</c:v>
                </c:pt>
                <c:pt idx="660">
                  <c:v>43396</c:v>
                </c:pt>
                <c:pt idx="661">
                  <c:v>43397</c:v>
                </c:pt>
                <c:pt idx="662">
                  <c:v>43398</c:v>
                </c:pt>
                <c:pt idx="663">
                  <c:v>43399</c:v>
                </c:pt>
                <c:pt idx="664">
                  <c:v>43400</c:v>
                </c:pt>
                <c:pt idx="665">
                  <c:v>43401</c:v>
                </c:pt>
                <c:pt idx="666">
                  <c:v>43402</c:v>
                </c:pt>
                <c:pt idx="667">
                  <c:v>43403</c:v>
                </c:pt>
                <c:pt idx="668">
                  <c:v>43404</c:v>
                </c:pt>
                <c:pt idx="669">
                  <c:v>43405</c:v>
                </c:pt>
                <c:pt idx="670">
                  <c:v>43406</c:v>
                </c:pt>
                <c:pt idx="671">
                  <c:v>43407</c:v>
                </c:pt>
                <c:pt idx="672">
                  <c:v>43408</c:v>
                </c:pt>
                <c:pt idx="673">
                  <c:v>43409</c:v>
                </c:pt>
                <c:pt idx="674">
                  <c:v>43410</c:v>
                </c:pt>
                <c:pt idx="675">
                  <c:v>43411</c:v>
                </c:pt>
                <c:pt idx="676">
                  <c:v>43412</c:v>
                </c:pt>
                <c:pt idx="677">
                  <c:v>43413</c:v>
                </c:pt>
                <c:pt idx="678">
                  <c:v>43414</c:v>
                </c:pt>
                <c:pt idx="679">
                  <c:v>43415</c:v>
                </c:pt>
                <c:pt idx="680">
                  <c:v>43416</c:v>
                </c:pt>
                <c:pt idx="681">
                  <c:v>43417</c:v>
                </c:pt>
                <c:pt idx="682">
                  <c:v>43418</c:v>
                </c:pt>
                <c:pt idx="683">
                  <c:v>43419</c:v>
                </c:pt>
                <c:pt idx="684">
                  <c:v>43420</c:v>
                </c:pt>
                <c:pt idx="685">
                  <c:v>43421</c:v>
                </c:pt>
                <c:pt idx="686">
                  <c:v>43422</c:v>
                </c:pt>
                <c:pt idx="687">
                  <c:v>43423</c:v>
                </c:pt>
                <c:pt idx="688">
                  <c:v>43424</c:v>
                </c:pt>
                <c:pt idx="689">
                  <c:v>43425</c:v>
                </c:pt>
                <c:pt idx="690">
                  <c:v>43426</c:v>
                </c:pt>
                <c:pt idx="691">
                  <c:v>43427</c:v>
                </c:pt>
                <c:pt idx="692">
                  <c:v>43428</c:v>
                </c:pt>
                <c:pt idx="693">
                  <c:v>43429</c:v>
                </c:pt>
                <c:pt idx="694">
                  <c:v>43430</c:v>
                </c:pt>
                <c:pt idx="695">
                  <c:v>43431</c:v>
                </c:pt>
                <c:pt idx="696">
                  <c:v>43432</c:v>
                </c:pt>
                <c:pt idx="697">
                  <c:v>43433</c:v>
                </c:pt>
                <c:pt idx="698">
                  <c:v>43434</c:v>
                </c:pt>
                <c:pt idx="699">
                  <c:v>43435</c:v>
                </c:pt>
                <c:pt idx="700">
                  <c:v>43436</c:v>
                </c:pt>
                <c:pt idx="701">
                  <c:v>43437</c:v>
                </c:pt>
                <c:pt idx="702">
                  <c:v>43438</c:v>
                </c:pt>
                <c:pt idx="703">
                  <c:v>43439</c:v>
                </c:pt>
                <c:pt idx="704">
                  <c:v>43440</c:v>
                </c:pt>
                <c:pt idx="705">
                  <c:v>43441</c:v>
                </c:pt>
                <c:pt idx="706">
                  <c:v>43442</c:v>
                </c:pt>
                <c:pt idx="707">
                  <c:v>43443</c:v>
                </c:pt>
                <c:pt idx="708">
                  <c:v>43444</c:v>
                </c:pt>
                <c:pt idx="709">
                  <c:v>43445</c:v>
                </c:pt>
                <c:pt idx="710">
                  <c:v>43446</c:v>
                </c:pt>
                <c:pt idx="711">
                  <c:v>43447</c:v>
                </c:pt>
                <c:pt idx="712">
                  <c:v>43448</c:v>
                </c:pt>
                <c:pt idx="713">
                  <c:v>43449</c:v>
                </c:pt>
                <c:pt idx="714">
                  <c:v>43450</c:v>
                </c:pt>
                <c:pt idx="715">
                  <c:v>43451</c:v>
                </c:pt>
                <c:pt idx="716">
                  <c:v>43452</c:v>
                </c:pt>
                <c:pt idx="717">
                  <c:v>43453</c:v>
                </c:pt>
                <c:pt idx="718">
                  <c:v>43454</c:v>
                </c:pt>
                <c:pt idx="719">
                  <c:v>43455</c:v>
                </c:pt>
                <c:pt idx="720">
                  <c:v>43456</c:v>
                </c:pt>
                <c:pt idx="721">
                  <c:v>43457</c:v>
                </c:pt>
                <c:pt idx="722">
                  <c:v>43458</c:v>
                </c:pt>
                <c:pt idx="723">
                  <c:v>43459</c:v>
                </c:pt>
                <c:pt idx="724">
                  <c:v>43460</c:v>
                </c:pt>
                <c:pt idx="725">
                  <c:v>43461</c:v>
                </c:pt>
                <c:pt idx="726">
                  <c:v>43462</c:v>
                </c:pt>
                <c:pt idx="727">
                  <c:v>43463</c:v>
                </c:pt>
                <c:pt idx="728">
                  <c:v>43464</c:v>
                </c:pt>
                <c:pt idx="729">
                  <c:v>43465</c:v>
                </c:pt>
                <c:pt idx="730">
                  <c:v>43466</c:v>
                </c:pt>
                <c:pt idx="731">
                  <c:v>43467</c:v>
                </c:pt>
                <c:pt idx="732">
                  <c:v>43468</c:v>
                </c:pt>
                <c:pt idx="733">
                  <c:v>43469</c:v>
                </c:pt>
                <c:pt idx="734">
                  <c:v>43470</c:v>
                </c:pt>
                <c:pt idx="735">
                  <c:v>43471</c:v>
                </c:pt>
                <c:pt idx="736">
                  <c:v>43472</c:v>
                </c:pt>
                <c:pt idx="737">
                  <c:v>43473</c:v>
                </c:pt>
                <c:pt idx="738">
                  <c:v>43474</c:v>
                </c:pt>
                <c:pt idx="739">
                  <c:v>43475</c:v>
                </c:pt>
                <c:pt idx="740">
                  <c:v>43476</c:v>
                </c:pt>
                <c:pt idx="741">
                  <c:v>43477</c:v>
                </c:pt>
                <c:pt idx="742">
                  <c:v>43478</c:v>
                </c:pt>
                <c:pt idx="743">
                  <c:v>43479</c:v>
                </c:pt>
                <c:pt idx="744">
                  <c:v>43480</c:v>
                </c:pt>
                <c:pt idx="745">
                  <c:v>43481</c:v>
                </c:pt>
                <c:pt idx="746">
                  <c:v>43482</c:v>
                </c:pt>
                <c:pt idx="747">
                  <c:v>43483</c:v>
                </c:pt>
                <c:pt idx="748">
                  <c:v>43484</c:v>
                </c:pt>
                <c:pt idx="749">
                  <c:v>43485</c:v>
                </c:pt>
                <c:pt idx="750">
                  <c:v>43486</c:v>
                </c:pt>
                <c:pt idx="751">
                  <c:v>43487</c:v>
                </c:pt>
                <c:pt idx="752">
                  <c:v>43488</c:v>
                </c:pt>
                <c:pt idx="753">
                  <c:v>43489</c:v>
                </c:pt>
                <c:pt idx="754">
                  <c:v>43490</c:v>
                </c:pt>
                <c:pt idx="755">
                  <c:v>43491</c:v>
                </c:pt>
                <c:pt idx="756">
                  <c:v>43492</c:v>
                </c:pt>
                <c:pt idx="757">
                  <c:v>43493</c:v>
                </c:pt>
                <c:pt idx="758">
                  <c:v>43494</c:v>
                </c:pt>
                <c:pt idx="759">
                  <c:v>43495</c:v>
                </c:pt>
                <c:pt idx="760">
                  <c:v>43496</c:v>
                </c:pt>
                <c:pt idx="761">
                  <c:v>43497</c:v>
                </c:pt>
                <c:pt idx="762">
                  <c:v>43498</c:v>
                </c:pt>
                <c:pt idx="763">
                  <c:v>43499</c:v>
                </c:pt>
                <c:pt idx="764">
                  <c:v>43500</c:v>
                </c:pt>
                <c:pt idx="765">
                  <c:v>43501</c:v>
                </c:pt>
                <c:pt idx="766">
                  <c:v>43502</c:v>
                </c:pt>
                <c:pt idx="767">
                  <c:v>43503</c:v>
                </c:pt>
                <c:pt idx="768">
                  <c:v>43504</c:v>
                </c:pt>
                <c:pt idx="769">
                  <c:v>43505</c:v>
                </c:pt>
                <c:pt idx="770">
                  <c:v>43506</c:v>
                </c:pt>
                <c:pt idx="771">
                  <c:v>43507</c:v>
                </c:pt>
                <c:pt idx="772">
                  <c:v>43508</c:v>
                </c:pt>
                <c:pt idx="773">
                  <c:v>43509</c:v>
                </c:pt>
                <c:pt idx="774">
                  <c:v>43510</c:v>
                </c:pt>
                <c:pt idx="775">
                  <c:v>43511</c:v>
                </c:pt>
                <c:pt idx="776">
                  <c:v>43512</c:v>
                </c:pt>
                <c:pt idx="777">
                  <c:v>43513</c:v>
                </c:pt>
                <c:pt idx="778">
                  <c:v>43514</c:v>
                </c:pt>
                <c:pt idx="779">
                  <c:v>43515</c:v>
                </c:pt>
                <c:pt idx="780">
                  <c:v>43516</c:v>
                </c:pt>
                <c:pt idx="781">
                  <c:v>43517</c:v>
                </c:pt>
                <c:pt idx="782">
                  <c:v>43518</c:v>
                </c:pt>
                <c:pt idx="783">
                  <c:v>43519</c:v>
                </c:pt>
                <c:pt idx="784">
                  <c:v>43520</c:v>
                </c:pt>
                <c:pt idx="785">
                  <c:v>43521</c:v>
                </c:pt>
                <c:pt idx="786">
                  <c:v>43522</c:v>
                </c:pt>
                <c:pt idx="787">
                  <c:v>43523</c:v>
                </c:pt>
                <c:pt idx="788">
                  <c:v>43524</c:v>
                </c:pt>
                <c:pt idx="789">
                  <c:v>43525</c:v>
                </c:pt>
                <c:pt idx="790">
                  <c:v>43526</c:v>
                </c:pt>
                <c:pt idx="791">
                  <c:v>43527</c:v>
                </c:pt>
                <c:pt idx="792">
                  <c:v>43528</c:v>
                </c:pt>
                <c:pt idx="793">
                  <c:v>43529</c:v>
                </c:pt>
                <c:pt idx="794">
                  <c:v>43530</c:v>
                </c:pt>
                <c:pt idx="795">
                  <c:v>43531</c:v>
                </c:pt>
                <c:pt idx="796">
                  <c:v>43532</c:v>
                </c:pt>
                <c:pt idx="797">
                  <c:v>43533</c:v>
                </c:pt>
                <c:pt idx="798">
                  <c:v>43534</c:v>
                </c:pt>
                <c:pt idx="799">
                  <c:v>43535</c:v>
                </c:pt>
                <c:pt idx="800">
                  <c:v>43536</c:v>
                </c:pt>
                <c:pt idx="801">
                  <c:v>43537</c:v>
                </c:pt>
                <c:pt idx="802">
                  <c:v>43538</c:v>
                </c:pt>
                <c:pt idx="803">
                  <c:v>43539</c:v>
                </c:pt>
                <c:pt idx="804">
                  <c:v>43540</c:v>
                </c:pt>
                <c:pt idx="805">
                  <c:v>43541</c:v>
                </c:pt>
                <c:pt idx="806">
                  <c:v>43542</c:v>
                </c:pt>
                <c:pt idx="807">
                  <c:v>43543</c:v>
                </c:pt>
                <c:pt idx="808">
                  <c:v>43544</c:v>
                </c:pt>
                <c:pt idx="809">
                  <c:v>43545</c:v>
                </c:pt>
                <c:pt idx="810">
                  <c:v>43546</c:v>
                </c:pt>
                <c:pt idx="811">
                  <c:v>43547</c:v>
                </c:pt>
                <c:pt idx="812">
                  <c:v>43548</c:v>
                </c:pt>
                <c:pt idx="813">
                  <c:v>43549</c:v>
                </c:pt>
                <c:pt idx="814">
                  <c:v>43550</c:v>
                </c:pt>
                <c:pt idx="815">
                  <c:v>43551</c:v>
                </c:pt>
                <c:pt idx="816">
                  <c:v>43552</c:v>
                </c:pt>
                <c:pt idx="817">
                  <c:v>43553</c:v>
                </c:pt>
                <c:pt idx="818">
                  <c:v>43554</c:v>
                </c:pt>
                <c:pt idx="819">
                  <c:v>43555</c:v>
                </c:pt>
                <c:pt idx="820">
                  <c:v>43556</c:v>
                </c:pt>
                <c:pt idx="821">
                  <c:v>43557</c:v>
                </c:pt>
                <c:pt idx="822">
                  <c:v>43558</c:v>
                </c:pt>
                <c:pt idx="823">
                  <c:v>43559</c:v>
                </c:pt>
                <c:pt idx="824">
                  <c:v>43560</c:v>
                </c:pt>
                <c:pt idx="825">
                  <c:v>43561</c:v>
                </c:pt>
                <c:pt idx="826">
                  <c:v>43562</c:v>
                </c:pt>
                <c:pt idx="827">
                  <c:v>43563</c:v>
                </c:pt>
                <c:pt idx="828">
                  <c:v>43564</c:v>
                </c:pt>
                <c:pt idx="829">
                  <c:v>43565</c:v>
                </c:pt>
                <c:pt idx="830">
                  <c:v>43566</c:v>
                </c:pt>
                <c:pt idx="831">
                  <c:v>43567</c:v>
                </c:pt>
                <c:pt idx="832">
                  <c:v>43568</c:v>
                </c:pt>
                <c:pt idx="833">
                  <c:v>43569</c:v>
                </c:pt>
                <c:pt idx="834">
                  <c:v>43570</c:v>
                </c:pt>
                <c:pt idx="835">
                  <c:v>43571</c:v>
                </c:pt>
                <c:pt idx="836">
                  <c:v>43572</c:v>
                </c:pt>
                <c:pt idx="837">
                  <c:v>43573</c:v>
                </c:pt>
                <c:pt idx="838">
                  <c:v>43574</c:v>
                </c:pt>
                <c:pt idx="839">
                  <c:v>43575</c:v>
                </c:pt>
                <c:pt idx="840">
                  <c:v>43576</c:v>
                </c:pt>
                <c:pt idx="841">
                  <c:v>43577</c:v>
                </c:pt>
                <c:pt idx="842">
                  <c:v>43578</c:v>
                </c:pt>
                <c:pt idx="843">
                  <c:v>43579</c:v>
                </c:pt>
                <c:pt idx="844">
                  <c:v>43580</c:v>
                </c:pt>
                <c:pt idx="845">
                  <c:v>43581</c:v>
                </c:pt>
                <c:pt idx="846">
                  <c:v>43582</c:v>
                </c:pt>
                <c:pt idx="847">
                  <c:v>43583</c:v>
                </c:pt>
                <c:pt idx="848">
                  <c:v>43584</c:v>
                </c:pt>
                <c:pt idx="849">
                  <c:v>43585</c:v>
                </c:pt>
                <c:pt idx="850">
                  <c:v>43586</c:v>
                </c:pt>
                <c:pt idx="851">
                  <c:v>43587</c:v>
                </c:pt>
                <c:pt idx="852">
                  <c:v>43588</c:v>
                </c:pt>
                <c:pt idx="853">
                  <c:v>43589</c:v>
                </c:pt>
                <c:pt idx="854">
                  <c:v>43590</c:v>
                </c:pt>
                <c:pt idx="855">
                  <c:v>43591</c:v>
                </c:pt>
                <c:pt idx="856">
                  <c:v>43592</c:v>
                </c:pt>
                <c:pt idx="857">
                  <c:v>43593</c:v>
                </c:pt>
                <c:pt idx="858">
                  <c:v>43594</c:v>
                </c:pt>
                <c:pt idx="859">
                  <c:v>43595</c:v>
                </c:pt>
                <c:pt idx="860">
                  <c:v>43596</c:v>
                </c:pt>
                <c:pt idx="861">
                  <c:v>43597</c:v>
                </c:pt>
                <c:pt idx="862">
                  <c:v>43598</c:v>
                </c:pt>
                <c:pt idx="863">
                  <c:v>43599</c:v>
                </c:pt>
                <c:pt idx="864">
                  <c:v>43600</c:v>
                </c:pt>
                <c:pt idx="865">
                  <c:v>43601</c:v>
                </c:pt>
                <c:pt idx="866">
                  <c:v>43602</c:v>
                </c:pt>
                <c:pt idx="867">
                  <c:v>43603</c:v>
                </c:pt>
                <c:pt idx="868">
                  <c:v>43604</c:v>
                </c:pt>
                <c:pt idx="869">
                  <c:v>43605</c:v>
                </c:pt>
                <c:pt idx="870">
                  <c:v>43606</c:v>
                </c:pt>
                <c:pt idx="871">
                  <c:v>43607</c:v>
                </c:pt>
                <c:pt idx="872">
                  <c:v>43608</c:v>
                </c:pt>
                <c:pt idx="873">
                  <c:v>43609</c:v>
                </c:pt>
                <c:pt idx="874">
                  <c:v>43610</c:v>
                </c:pt>
                <c:pt idx="875">
                  <c:v>43611</c:v>
                </c:pt>
                <c:pt idx="876">
                  <c:v>43612</c:v>
                </c:pt>
                <c:pt idx="877">
                  <c:v>43613</c:v>
                </c:pt>
                <c:pt idx="878">
                  <c:v>43614</c:v>
                </c:pt>
                <c:pt idx="879">
                  <c:v>43615</c:v>
                </c:pt>
                <c:pt idx="880">
                  <c:v>43616</c:v>
                </c:pt>
                <c:pt idx="881">
                  <c:v>43617</c:v>
                </c:pt>
                <c:pt idx="882">
                  <c:v>43618</c:v>
                </c:pt>
                <c:pt idx="883">
                  <c:v>43619</c:v>
                </c:pt>
                <c:pt idx="884">
                  <c:v>43620</c:v>
                </c:pt>
                <c:pt idx="885">
                  <c:v>43621</c:v>
                </c:pt>
                <c:pt idx="886">
                  <c:v>43622</c:v>
                </c:pt>
                <c:pt idx="887">
                  <c:v>43623</c:v>
                </c:pt>
                <c:pt idx="888">
                  <c:v>43624</c:v>
                </c:pt>
                <c:pt idx="889">
                  <c:v>43625</c:v>
                </c:pt>
                <c:pt idx="890">
                  <c:v>43626</c:v>
                </c:pt>
                <c:pt idx="891">
                  <c:v>43627</c:v>
                </c:pt>
                <c:pt idx="892">
                  <c:v>43628</c:v>
                </c:pt>
                <c:pt idx="893">
                  <c:v>43629</c:v>
                </c:pt>
                <c:pt idx="894">
                  <c:v>43630</c:v>
                </c:pt>
                <c:pt idx="895">
                  <c:v>43631</c:v>
                </c:pt>
                <c:pt idx="896">
                  <c:v>43632</c:v>
                </c:pt>
                <c:pt idx="897">
                  <c:v>43633</c:v>
                </c:pt>
                <c:pt idx="898">
                  <c:v>43634</c:v>
                </c:pt>
                <c:pt idx="899">
                  <c:v>43635</c:v>
                </c:pt>
                <c:pt idx="900">
                  <c:v>43636</c:v>
                </c:pt>
                <c:pt idx="901">
                  <c:v>43637</c:v>
                </c:pt>
                <c:pt idx="902">
                  <c:v>43638</c:v>
                </c:pt>
                <c:pt idx="903">
                  <c:v>43639</c:v>
                </c:pt>
                <c:pt idx="904">
                  <c:v>43640</c:v>
                </c:pt>
                <c:pt idx="905">
                  <c:v>43641</c:v>
                </c:pt>
                <c:pt idx="906">
                  <c:v>43642</c:v>
                </c:pt>
                <c:pt idx="907">
                  <c:v>43643</c:v>
                </c:pt>
                <c:pt idx="908">
                  <c:v>43644</c:v>
                </c:pt>
                <c:pt idx="909">
                  <c:v>43645</c:v>
                </c:pt>
                <c:pt idx="910">
                  <c:v>43646</c:v>
                </c:pt>
                <c:pt idx="911">
                  <c:v>43647</c:v>
                </c:pt>
                <c:pt idx="912">
                  <c:v>43648</c:v>
                </c:pt>
                <c:pt idx="913">
                  <c:v>43649</c:v>
                </c:pt>
                <c:pt idx="914">
                  <c:v>43650</c:v>
                </c:pt>
                <c:pt idx="915">
                  <c:v>43651</c:v>
                </c:pt>
                <c:pt idx="916">
                  <c:v>43652</c:v>
                </c:pt>
                <c:pt idx="917">
                  <c:v>43653</c:v>
                </c:pt>
                <c:pt idx="918">
                  <c:v>43654</c:v>
                </c:pt>
                <c:pt idx="919">
                  <c:v>43655</c:v>
                </c:pt>
                <c:pt idx="920">
                  <c:v>43656</c:v>
                </c:pt>
                <c:pt idx="921">
                  <c:v>43657</c:v>
                </c:pt>
                <c:pt idx="922">
                  <c:v>43658</c:v>
                </c:pt>
                <c:pt idx="923">
                  <c:v>43659</c:v>
                </c:pt>
                <c:pt idx="924">
                  <c:v>43660</c:v>
                </c:pt>
                <c:pt idx="925">
                  <c:v>43661</c:v>
                </c:pt>
                <c:pt idx="926">
                  <c:v>43662</c:v>
                </c:pt>
                <c:pt idx="927">
                  <c:v>43663</c:v>
                </c:pt>
                <c:pt idx="928">
                  <c:v>43664</c:v>
                </c:pt>
                <c:pt idx="929">
                  <c:v>43665</c:v>
                </c:pt>
                <c:pt idx="930">
                  <c:v>43666</c:v>
                </c:pt>
                <c:pt idx="931">
                  <c:v>43667</c:v>
                </c:pt>
                <c:pt idx="932">
                  <c:v>43668</c:v>
                </c:pt>
                <c:pt idx="933">
                  <c:v>43669</c:v>
                </c:pt>
                <c:pt idx="934">
                  <c:v>43670</c:v>
                </c:pt>
                <c:pt idx="935">
                  <c:v>43671</c:v>
                </c:pt>
                <c:pt idx="936">
                  <c:v>43672</c:v>
                </c:pt>
                <c:pt idx="937">
                  <c:v>43673</c:v>
                </c:pt>
                <c:pt idx="938">
                  <c:v>43674</c:v>
                </c:pt>
                <c:pt idx="939">
                  <c:v>43675</c:v>
                </c:pt>
                <c:pt idx="940">
                  <c:v>43676</c:v>
                </c:pt>
                <c:pt idx="941">
                  <c:v>43677</c:v>
                </c:pt>
                <c:pt idx="942">
                  <c:v>43678</c:v>
                </c:pt>
                <c:pt idx="943">
                  <c:v>43679</c:v>
                </c:pt>
                <c:pt idx="944">
                  <c:v>43680</c:v>
                </c:pt>
                <c:pt idx="945">
                  <c:v>43681</c:v>
                </c:pt>
                <c:pt idx="946">
                  <c:v>43682</c:v>
                </c:pt>
                <c:pt idx="947">
                  <c:v>43683</c:v>
                </c:pt>
                <c:pt idx="948">
                  <c:v>43684</c:v>
                </c:pt>
                <c:pt idx="949">
                  <c:v>43685</c:v>
                </c:pt>
                <c:pt idx="950">
                  <c:v>43686</c:v>
                </c:pt>
                <c:pt idx="951">
                  <c:v>43687</c:v>
                </c:pt>
                <c:pt idx="952">
                  <c:v>43688</c:v>
                </c:pt>
                <c:pt idx="953">
                  <c:v>43689</c:v>
                </c:pt>
                <c:pt idx="954">
                  <c:v>43690</c:v>
                </c:pt>
                <c:pt idx="955">
                  <c:v>43691</c:v>
                </c:pt>
                <c:pt idx="956">
                  <c:v>43692</c:v>
                </c:pt>
                <c:pt idx="957">
                  <c:v>43693</c:v>
                </c:pt>
                <c:pt idx="958">
                  <c:v>43694</c:v>
                </c:pt>
                <c:pt idx="959">
                  <c:v>43695</c:v>
                </c:pt>
                <c:pt idx="960">
                  <c:v>43696</c:v>
                </c:pt>
                <c:pt idx="961">
                  <c:v>43697</c:v>
                </c:pt>
                <c:pt idx="962">
                  <c:v>43698</c:v>
                </c:pt>
                <c:pt idx="963">
                  <c:v>43699</c:v>
                </c:pt>
                <c:pt idx="964">
                  <c:v>43700</c:v>
                </c:pt>
                <c:pt idx="965">
                  <c:v>43701</c:v>
                </c:pt>
                <c:pt idx="966">
                  <c:v>43702</c:v>
                </c:pt>
                <c:pt idx="967">
                  <c:v>43703</c:v>
                </c:pt>
                <c:pt idx="968">
                  <c:v>43704</c:v>
                </c:pt>
                <c:pt idx="969">
                  <c:v>43705</c:v>
                </c:pt>
                <c:pt idx="970">
                  <c:v>43706</c:v>
                </c:pt>
                <c:pt idx="971">
                  <c:v>43707</c:v>
                </c:pt>
                <c:pt idx="972">
                  <c:v>43708</c:v>
                </c:pt>
                <c:pt idx="973">
                  <c:v>43709</c:v>
                </c:pt>
                <c:pt idx="974">
                  <c:v>43710</c:v>
                </c:pt>
                <c:pt idx="975">
                  <c:v>43711</c:v>
                </c:pt>
                <c:pt idx="976">
                  <c:v>43712</c:v>
                </c:pt>
                <c:pt idx="977">
                  <c:v>43713</c:v>
                </c:pt>
                <c:pt idx="978">
                  <c:v>43714</c:v>
                </c:pt>
                <c:pt idx="979">
                  <c:v>43715</c:v>
                </c:pt>
                <c:pt idx="980">
                  <c:v>43716</c:v>
                </c:pt>
                <c:pt idx="981">
                  <c:v>43717</c:v>
                </c:pt>
                <c:pt idx="982">
                  <c:v>43718</c:v>
                </c:pt>
                <c:pt idx="983">
                  <c:v>43719</c:v>
                </c:pt>
                <c:pt idx="984">
                  <c:v>43720</c:v>
                </c:pt>
                <c:pt idx="985">
                  <c:v>43721</c:v>
                </c:pt>
                <c:pt idx="986">
                  <c:v>43722</c:v>
                </c:pt>
                <c:pt idx="987">
                  <c:v>43723</c:v>
                </c:pt>
                <c:pt idx="988">
                  <c:v>43724</c:v>
                </c:pt>
                <c:pt idx="989">
                  <c:v>43725</c:v>
                </c:pt>
                <c:pt idx="990">
                  <c:v>43726</c:v>
                </c:pt>
                <c:pt idx="991">
                  <c:v>43727</c:v>
                </c:pt>
                <c:pt idx="992">
                  <c:v>43728</c:v>
                </c:pt>
                <c:pt idx="993">
                  <c:v>43729</c:v>
                </c:pt>
                <c:pt idx="994">
                  <c:v>43730</c:v>
                </c:pt>
                <c:pt idx="995">
                  <c:v>43731</c:v>
                </c:pt>
                <c:pt idx="996">
                  <c:v>43732</c:v>
                </c:pt>
                <c:pt idx="997">
                  <c:v>43733</c:v>
                </c:pt>
                <c:pt idx="998">
                  <c:v>43734</c:v>
                </c:pt>
                <c:pt idx="999">
                  <c:v>43735</c:v>
                </c:pt>
                <c:pt idx="1000">
                  <c:v>43736</c:v>
                </c:pt>
                <c:pt idx="1001">
                  <c:v>43737</c:v>
                </c:pt>
                <c:pt idx="1002">
                  <c:v>43738</c:v>
                </c:pt>
                <c:pt idx="1003">
                  <c:v>43739</c:v>
                </c:pt>
                <c:pt idx="1004">
                  <c:v>43740</c:v>
                </c:pt>
                <c:pt idx="1005">
                  <c:v>43741</c:v>
                </c:pt>
                <c:pt idx="1006">
                  <c:v>43742</c:v>
                </c:pt>
                <c:pt idx="1007">
                  <c:v>43743</c:v>
                </c:pt>
                <c:pt idx="1008">
                  <c:v>43744</c:v>
                </c:pt>
                <c:pt idx="1009">
                  <c:v>43745</c:v>
                </c:pt>
                <c:pt idx="1010">
                  <c:v>43746</c:v>
                </c:pt>
                <c:pt idx="1011">
                  <c:v>43747</c:v>
                </c:pt>
                <c:pt idx="1012">
                  <c:v>43748</c:v>
                </c:pt>
                <c:pt idx="1013">
                  <c:v>43749</c:v>
                </c:pt>
                <c:pt idx="1014">
                  <c:v>43750</c:v>
                </c:pt>
                <c:pt idx="1015">
                  <c:v>43751</c:v>
                </c:pt>
                <c:pt idx="1016">
                  <c:v>43752</c:v>
                </c:pt>
                <c:pt idx="1017">
                  <c:v>43753</c:v>
                </c:pt>
                <c:pt idx="1018">
                  <c:v>43754</c:v>
                </c:pt>
                <c:pt idx="1019">
                  <c:v>43755</c:v>
                </c:pt>
                <c:pt idx="1020">
                  <c:v>43756</c:v>
                </c:pt>
                <c:pt idx="1021">
                  <c:v>43757</c:v>
                </c:pt>
                <c:pt idx="1022">
                  <c:v>43758</c:v>
                </c:pt>
                <c:pt idx="1023">
                  <c:v>43759</c:v>
                </c:pt>
                <c:pt idx="1024">
                  <c:v>43760</c:v>
                </c:pt>
                <c:pt idx="1025">
                  <c:v>43761</c:v>
                </c:pt>
                <c:pt idx="1026">
                  <c:v>43762</c:v>
                </c:pt>
                <c:pt idx="1027">
                  <c:v>43763</c:v>
                </c:pt>
                <c:pt idx="1028">
                  <c:v>43764</c:v>
                </c:pt>
                <c:pt idx="1029">
                  <c:v>43765</c:v>
                </c:pt>
                <c:pt idx="1030">
                  <c:v>43766</c:v>
                </c:pt>
                <c:pt idx="1031">
                  <c:v>43767</c:v>
                </c:pt>
                <c:pt idx="1032">
                  <c:v>43768</c:v>
                </c:pt>
                <c:pt idx="1033">
                  <c:v>43769</c:v>
                </c:pt>
                <c:pt idx="1034">
                  <c:v>43770</c:v>
                </c:pt>
                <c:pt idx="1035">
                  <c:v>43771</c:v>
                </c:pt>
                <c:pt idx="1036">
                  <c:v>43772</c:v>
                </c:pt>
                <c:pt idx="1037">
                  <c:v>43773</c:v>
                </c:pt>
                <c:pt idx="1038">
                  <c:v>43774</c:v>
                </c:pt>
                <c:pt idx="1039">
                  <c:v>43775</c:v>
                </c:pt>
                <c:pt idx="1040">
                  <c:v>43776</c:v>
                </c:pt>
                <c:pt idx="1041">
                  <c:v>43777</c:v>
                </c:pt>
                <c:pt idx="1042">
                  <c:v>43778</c:v>
                </c:pt>
                <c:pt idx="1043">
                  <c:v>43779</c:v>
                </c:pt>
                <c:pt idx="1044">
                  <c:v>43780</c:v>
                </c:pt>
                <c:pt idx="1045">
                  <c:v>43781</c:v>
                </c:pt>
                <c:pt idx="1046">
                  <c:v>43782</c:v>
                </c:pt>
                <c:pt idx="1047">
                  <c:v>43783</c:v>
                </c:pt>
                <c:pt idx="1048">
                  <c:v>43784</c:v>
                </c:pt>
                <c:pt idx="1049">
                  <c:v>43785</c:v>
                </c:pt>
                <c:pt idx="1050">
                  <c:v>43786</c:v>
                </c:pt>
                <c:pt idx="1051">
                  <c:v>43787</c:v>
                </c:pt>
                <c:pt idx="1052">
                  <c:v>43788</c:v>
                </c:pt>
                <c:pt idx="1053">
                  <c:v>43789</c:v>
                </c:pt>
                <c:pt idx="1054">
                  <c:v>43790</c:v>
                </c:pt>
                <c:pt idx="1055">
                  <c:v>43791</c:v>
                </c:pt>
                <c:pt idx="1056">
                  <c:v>43792</c:v>
                </c:pt>
                <c:pt idx="1057">
                  <c:v>43793</c:v>
                </c:pt>
                <c:pt idx="1058">
                  <c:v>43794</c:v>
                </c:pt>
                <c:pt idx="1059">
                  <c:v>43795</c:v>
                </c:pt>
                <c:pt idx="1060">
                  <c:v>43796</c:v>
                </c:pt>
                <c:pt idx="1061">
                  <c:v>43797</c:v>
                </c:pt>
                <c:pt idx="1062">
                  <c:v>43798</c:v>
                </c:pt>
                <c:pt idx="1063">
                  <c:v>43799</c:v>
                </c:pt>
                <c:pt idx="1064">
                  <c:v>43800</c:v>
                </c:pt>
                <c:pt idx="1065">
                  <c:v>43801</c:v>
                </c:pt>
                <c:pt idx="1066">
                  <c:v>43802</c:v>
                </c:pt>
                <c:pt idx="1067">
                  <c:v>43803</c:v>
                </c:pt>
                <c:pt idx="1068">
                  <c:v>43804</c:v>
                </c:pt>
                <c:pt idx="1069">
                  <c:v>43805</c:v>
                </c:pt>
                <c:pt idx="1070">
                  <c:v>43806</c:v>
                </c:pt>
                <c:pt idx="1071">
                  <c:v>43807</c:v>
                </c:pt>
                <c:pt idx="1072">
                  <c:v>43808</c:v>
                </c:pt>
                <c:pt idx="1073">
                  <c:v>43809</c:v>
                </c:pt>
                <c:pt idx="1074">
                  <c:v>43810</c:v>
                </c:pt>
                <c:pt idx="1075">
                  <c:v>43811</c:v>
                </c:pt>
                <c:pt idx="1076">
                  <c:v>43812</c:v>
                </c:pt>
                <c:pt idx="1077">
                  <c:v>43813</c:v>
                </c:pt>
                <c:pt idx="1078">
                  <c:v>43814</c:v>
                </c:pt>
                <c:pt idx="1079">
                  <c:v>43815</c:v>
                </c:pt>
                <c:pt idx="1080">
                  <c:v>43816</c:v>
                </c:pt>
                <c:pt idx="1081">
                  <c:v>43817</c:v>
                </c:pt>
                <c:pt idx="1082">
                  <c:v>43818</c:v>
                </c:pt>
                <c:pt idx="1083">
                  <c:v>43819</c:v>
                </c:pt>
                <c:pt idx="1084">
                  <c:v>43820</c:v>
                </c:pt>
                <c:pt idx="1085">
                  <c:v>43821</c:v>
                </c:pt>
                <c:pt idx="1086">
                  <c:v>43822</c:v>
                </c:pt>
                <c:pt idx="1087">
                  <c:v>43823</c:v>
                </c:pt>
                <c:pt idx="1088">
                  <c:v>43824</c:v>
                </c:pt>
                <c:pt idx="1089">
                  <c:v>43825</c:v>
                </c:pt>
                <c:pt idx="1090">
                  <c:v>43826</c:v>
                </c:pt>
                <c:pt idx="1091">
                  <c:v>43827</c:v>
                </c:pt>
                <c:pt idx="1092">
                  <c:v>43828</c:v>
                </c:pt>
                <c:pt idx="1093">
                  <c:v>43829</c:v>
                </c:pt>
                <c:pt idx="1094">
                  <c:v>43830</c:v>
                </c:pt>
                <c:pt idx="1095">
                  <c:v>43831</c:v>
                </c:pt>
                <c:pt idx="1096">
                  <c:v>43832</c:v>
                </c:pt>
                <c:pt idx="1097">
                  <c:v>43833</c:v>
                </c:pt>
                <c:pt idx="1098">
                  <c:v>43834</c:v>
                </c:pt>
                <c:pt idx="1099">
                  <c:v>43835</c:v>
                </c:pt>
                <c:pt idx="1100">
                  <c:v>43836</c:v>
                </c:pt>
                <c:pt idx="1101">
                  <c:v>43837</c:v>
                </c:pt>
                <c:pt idx="1102">
                  <c:v>43838</c:v>
                </c:pt>
                <c:pt idx="1103">
                  <c:v>43839</c:v>
                </c:pt>
                <c:pt idx="1104">
                  <c:v>43840</c:v>
                </c:pt>
                <c:pt idx="1105">
                  <c:v>43841</c:v>
                </c:pt>
                <c:pt idx="1106">
                  <c:v>43842</c:v>
                </c:pt>
                <c:pt idx="1107">
                  <c:v>43843</c:v>
                </c:pt>
                <c:pt idx="1108">
                  <c:v>43844</c:v>
                </c:pt>
                <c:pt idx="1109">
                  <c:v>43845</c:v>
                </c:pt>
                <c:pt idx="1110">
                  <c:v>43846</c:v>
                </c:pt>
                <c:pt idx="1111">
                  <c:v>43847</c:v>
                </c:pt>
                <c:pt idx="1112">
                  <c:v>43848</c:v>
                </c:pt>
                <c:pt idx="1113">
                  <c:v>43849</c:v>
                </c:pt>
                <c:pt idx="1114">
                  <c:v>43850</c:v>
                </c:pt>
                <c:pt idx="1115">
                  <c:v>43851</c:v>
                </c:pt>
                <c:pt idx="1116">
                  <c:v>43852</c:v>
                </c:pt>
                <c:pt idx="1117">
                  <c:v>43853</c:v>
                </c:pt>
                <c:pt idx="1118">
                  <c:v>43854</c:v>
                </c:pt>
                <c:pt idx="1119">
                  <c:v>43855</c:v>
                </c:pt>
                <c:pt idx="1120">
                  <c:v>43856</c:v>
                </c:pt>
                <c:pt idx="1121">
                  <c:v>43857</c:v>
                </c:pt>
                <c:pt idx="1122">
                  <c:v>43858</c:v>
                </c:pt>
                <c:pt idx="1123">
                  <c:v>43859</c:v>
                </c:pt>
                <c:pt idx="1124">
                  <c:v>43860</c:v>
                </c:pt>
                <c:pt idx="1125">
                  <c:v>43861</c:v>
                </c:pt>
                <c:pt idx="1126">
                  <c:v>43862</c:v>
                </c:pt>
                <c:pt idx="1127">
                  <c:v>43863</c:v>
                </c:pt>
                <c:pt idx="1128">
                  <c:v>43864</c:v>
                </c:pt>
                <c:pt idx="1129">
                  <c:v>43865</c:v>
                </c:pt>
                <c:pt idx="1130">
                  <c:v>43866</c:v>
                </c:pt>
                <c:pt idx="1131">
                  <c:v>43867</c:v>
                </c:pt>
                <c:pt idx="1132">
                  <c:v>43868</c:v>
                </c:pt>
                <c:pt idx="1133">
                  <c:v>43869</c:v>
                </c:pt>
                <c:pt idx="1134">
                  <c:v>43870</c:v>
                </c:pt>
                <c:pt idx="1135">
                  <c:v>43871</c:v>
                </c:pt>
                <c:pt idx="1136">
                  <c:v>43872</c:v>
                </c:pt>
                <c:pt idx="1137">
                  <c:v>43873</c:v>
                </c:pt>
                <c:pt idx="1138">
                  <c:v>43874</c:v>
                </c:pt>
                <c:pt idx="1139">
                  <c:v>43875</c:v>
                </c:pt>
                <c:pt idx="1140">
                  <c:v>43876</c:v>
                </c:pt>
                <c:pt idx="1141">
                  <c:v>43877</c:v>
                </c:pt>
                <c:pt idx="1142">
                  <c:v>43878</c:v>
                </c:pt>
                <c:pt idx="1143">
                  <c:v>43879</c:v>
                </c:pt>
                <c:pt idx="1144">
                  <c:v>43880</c:v>
                </c:pt>
                <c:pt idx="1145">
                  <c:v>43881</c:v>
                </c:pt>
                <c:pt idx="1146">
                  <c:v>43882</c:v>
                </c:pt>
                <c:pt idx="1147">
                  <c:v>43883</c:v>
                </c:pt>
                <c:pt idx="1148">
                  <c:v>43884</c:v>
                </c:pt>
                <c:pt idx="1149">
                  <c:v>43885</c:v>
                </c:pt>
                <c:pt idx="1150">
                  <c:v>43886</c:v>
                </c:pt>
                <c:pt idx="1151">
                  <c:v>43887</c:v>
                </c:pt>
                <c:pt idx="1152">
                  <c:v>43888</c:v>
                </c:pt>
                <c:pt idx="1153">
                  <c:v>43889</c:v>
                </c:pt>
                <c:pt idx="1154">
                  <c:v>43890</c:v>
                </c:pt>
                <c:pt idx="1155">
                  <c:v>43891</c:v>
                </c:pt>
                <c:pt idx="1156">
                  <c:v>43892</c:v>
                </c:pt>
                <c:pt idx="1157">
                  <c:v>43893</c:v>
                </c:pt>
                <c:pt idx="1158">
                  <c:v>43894</c:v>
                </c:pt>
                <c:pt idx="1159">
                  <c:v>43895</c:v>
                </c:pt>
                <c:pt idx="1160">
                  <c:v>43896</c:v>
                </c:pt>
                <c:pt idx="1161">
                  <c:v>43897</c:v>
                </c:pt>
                <c:pt idx="1162">
                  <c:v>43898</c:v>
                </c:pt>
                <c:pt idx="1163">
                  <c:v>43899</c:v>
                </c:pt>
                <c:pt idx="1164">
                  <c:v>43900</c:v>
                </c:pt>
                <c:pt idx="1165">
                  <c:v>43901</c:v>
                </c:pt>
                <c:pt idx="1166">
                  <c:v>43902</c:v>
                </c:pt>
                <c:pt idx="1167">
                  <c:v>43903</c:v>
                </c:pt>
                <c:pt idx="1168">
                  <c:v>43904</c:v>
                </c:pt>
                <c:pt idx="1169">
                  <c:v>43905</c:v>
                </c:pt>
                <c:pt idx="1170">
                  <c:v>43906</c:v>
                </c:pt>
                <c:pt idx="1171">
                  <c:v>43907</c:v>
                </c:pt>
                <c:pt idx="1172">
                  <c:v>43908</c:v>
                </c:pt>
                <c:pt idx="1173">
                  <c:v>43909</c:v>
                </c:pt>
                <c:pt idx="1174">
                  <c:v>43910</c:v>
                </c:pt>
                <c:pt idx="1175">
                  <c:v>43911</c:v>
                </c:pt>
                <c:pt idx="1176">
                  <c:v>43912</c:v>
                </c:pt>
                <c:pt idx="1177">
                  <c:v>43913</c:v>
                </c:pt>
                <c:pt idx="1178">
                  <c:v>43914</c:v>
                </c:pt>
                <c:pt idx="1179">
                  <c:v>43915</c:v>
                </c:pt>
                <c:pt idx="1180">
                  <c:v>43916</c:v>
                </c:pt>
                <c:pt idx="1181">
                  <c:v>43917</c:v>
                </c:pt>
                <c:pt idx="1182">
                  <c:v>43918</c:v>
                </c:pt>
                <c:pt idx="1183">
                  <c:v>43919</c:v>
                </c:pt>
                <c:pt idx="1184">
                  <c:v>43920</c:v>
                </c:pt>
                <c:pt idx="1185">
                  <c:v>43921</c:v>
                </c:pt>
                <c:pt idx="1186">
                  <c:v>43922</c:v>
                </c:pt>
                <c:pt idx="1187">
                  <c:v>43923</c:v>
                </c:pt>
                <c:pt idx="1188">
                  <c:v>43924</c:v>
                </c:pt>
                <c:pt idx="1189">
                  <c:v>43925</c:v>
                </c:pt>
                <c:pt idx="1190">
                  <c:v>43926</c:v>
                </c:pt>
                <c:pt idx="1191">
                  <c:v>43927</c:v>
                </c:pt>
                <c:pt idx="1192">
                  <c:v>43928</c:v>
                </c:pt>
                <c:pt idx="1193">
                  <c:v>43929</c:v>
                </c:pt>
                <c:pt idx="1194">
                  <c:v>43930</c:v>
                </c:pt>
                <c:pt idx="1195">
                  <c:v>43931</c:v>
                </c:pt>
                <c:pt idx="1196">
                  <c:v>43932</c:v>
                </c:pt>
                <c:pt idx="1197">
                  <c:v>43933</c:v>
                </c:pt>
                <c:pt idx="1198">
                  <c:v>43934</c:v>
                </c:pt>
                <c:pt idx="1199">
                  <c:v>43935</c:v>
                </c:pt>
                <c:pt idx="1200">
                  <c:v>43936</c:v>
                </c:pt>
                <c:pt idx="1201">
                  <c:v>43937</c:v>
                </c:pt>
                <c:pt idx="1202">
                  <c:v>43938</c:v>
                </c:pt>
                <c:pt idx="1203">
                  <c:v>43939</c:v>
                </c:pt>
                <c:pt idx="1204">
                  <c:v>43940</c:v>
                </c:pt>
                <c:pt idx="1205">
                  <c:v>43941</c:v>
                </c:pt>
                <c:pt idx="1206">
                  <c:v>43942</c:v>
                </c:pt>
                <c:pt idx="1207">
                  <c:v>43943</c:v>
                </c:pt>
                <c:pt idx="1208">
                  <c:v>43944</c:v>
                </c:pt>
                <c:pt idx="1209">
                  <c:v>43945</c:v>
                </c:pt>
                <c:pt idx="1210">
                  <c:v>43946</c:v>
                </c:pt>
                <c:pt idx="1211">
                  <c:v>43947</c:v>
                </c:pt>
                <c:pt idx="1212">
                  <c:v>43948</c:v>
                </c:pt>
                <c:pt idx="1213">
                  <c:v>43949</c:v>
                </c:pt>
                <c:pt idx="1214">
                  <c:v>43950</c:v>
                </c:pt>
                <c:pt idx="1215">
                  <c:v>43951</c:v>
                </c:pt>
                <c:pt idx="1216">
                  <c:v>43952</c:v>
                </c:pt>
                <c:pt idx="1217">
                  <c:v>43953</c:v>
                </c:pt>
                <c:pt idx="1218">
                  <c:v>43954</c:v>
                </c:pt>
                <c:pt idx="1219">
                  <c:v>43955</c:v>
                </c:pt>
                <c:pt idx="1220">
                  <c:v>43956</c:v>
                </c:pt>
                <c:pt idx="1221">
                  <c:v>43957</c:v>
                </c:pt>
                <c:pt idx="1222">
                  <c:v>43958</c:v>
                </c:pt>
                <c:pt idx="1223">
                  <c:v>43959</c:v>
                </c:pt>
                <c:pt idx="1224">
                  <c:v>43960</c:v>
                </c:pt>
                <c:pt idx="1225">
                  <c:v>43961</c:v>
                </c:pt>
                <c:pt idx="1226">
                  <c:v>43962</c:v>
                </c:pt>
                <c:pt idx="1227">
                  <c:v>43963</c:v>
                </c:pt>
                <c:pt idx="1228">
                  <c:v>43964</c:v>
                </c:pt>
                <c:pt idx="1229">
                  <c:v>43965</c:v>
                </c:pt>
                <c:pt idx="1230">
                  <c:v>43966</c:v>
                </c:pt>
                <c:pt idx="1231">
                  <c:v>43967</c:v>
                </c:pt>
                <c:pt idx="1232">
                  <c:v>43968</c:v>
                </c:pt>
                <c:pt idx="1233">
                  <c:v>43969</c:v>
                </c:pt>
                <c:pt idx="1234">
                  <c:v>43970</c:v>
                </c:pt>
                <c:pt idx="1235">
                  <c:v>43971</c:v>
                </c:pt>
                <c:pt idx="1236">
                  <c:v>43972</c:v>
                </c:pt>
                <c:pt idx="1237">
                  <c:v>43973</c:v>
                </c:pt>
                <c:pt idx="1238">
                  <c:v>43974</c:v>
                </c:pt>
                <c:pt idx="1239">
                  <c:v>43975</c:v>
                </c:pt>
                <c:pt idx="1240">
                  <c:v>43976</c:v>
                </c:pt>
                <c:pt idx="1241">
                  <c:v>43977</c:v>
                </c:pt>
                <c:pt idx="1242">
                  <c:v>43978</c:v>
                </c:pt>
                <c:pt idx="1243">
                  <c:v>43979</c:v>
                </c:pt>
                <c:pt idx="1244">
                  <c:v>43980</c:v>
                </c:pt>
                <c:pt idx="1245">
                  <c:v>43981</c:v>
                </c:pt>
                <c:pt idx="1246">
                  <c:v>43982</c:v>
                </c:pt>
                <c:pt idx="1247">
                  <c:v>43983</c:v>
                </c:pt>
                <c:pt idx="1248">
                  <c:v>43984</c:v>
                </c:pt>
                <c:pt idx="1249">
                  <c:v>43985</c:v>
                </c:pt>
                <c:pt idx="1250">
                  <c:v>43986</c:v>
                </c:pt>
                <c:pt idx="1251">
                  <c:v>43987</c:v>
                </c:pt>
                <c:pt idx="1252">
                  <c:v>43988</c:v>
                </c:pt>
                <c:pt idx="1253">
                  <c:v>43989</c:v>
                </c:pt>
                <c:pt idx="1254">
                  <c:v>43990</c:v>
                </c:pt>
                <c:pt idx="1255">
                  <c:v>43991</c:v>
                </c:pt>
                <c:pt idx="1256">
                  <c:v>43992</c:v>
                </c:pt>
                <c:pt idx="1257">
                  <c:v>43993</c:v>
                </c:pt>
                <c:pt idx="1258">
                  <c:v>43994</c:v>
                </c:pt>
                <c:pt idx="1259">
                  <c:v>43995</c:v>
                </c:pt>
                <c:pt idx="1260">
                  <c:v>43996</c:v>
                </c:pt>
                <c:pt idx="1261">
                  <c:v>43997</c:v>
                </c:pt>
                <c:pt idx="1262">
                  <c:v>43998</c:v>
                </c:pt>
                <c:pt idx="1263">
                  <c:v>43999</c:v>
                </c:pt>
                <c:pt idx="1264">
                  <c:v>44000</c:v>
                </c:pt>
                <c:pt idx="1265">
                  <c:v>44001</c:v>
                </c:pt>
                <c:pt idx="1266">
                  <c:v>44002</c:v>
                </c:pt>
                <c:pt idx="1267">
                  <c:v>44003</c:v>
                </c:pt>
                <c:pt idx="1268">
                  <c:v>44004</c:v>
                </c:pt>
                <c:pt idx="1269">
                  <c:v>44005</c:v>
                </c:pt>
                <c:pt idx="1270">
                  <c:v>44006</c:v>
                </c:pt>
                <c:pt idx="1271">
                  <c:v>44007</c:v>
                </c:pt>
                <c:pt idx="1272">
                  <c:v>44008</c:v>
                </c:pt>
                <c:pt idx="1273">
                  <c:v>44009</c:v>
                </c:pt>
                <c:pt idx="1274">
                  <c:v>44010</c:v>
                </c:pt>
                <c:pt idx="1275">
                  <c:v>44011</c:v>
                </c:pt>
                <c:pt idx="1276">
                  <c:v>44012</c:v>
                </c:pt>
                <c:pt idx="1277">
                  <c:v>44013</c:v>
                </c:pt>
                <c:pt idx="1278">
                  <c:v>44014</c:v>
                </c:pt>
                <c:pt idx="1279">
                  <c:v>44015</c:v>
                </c:pt>
                <c:pt idx="1280">
                  <c:v>44016</c:v>
                </c:pt>
                <c:pt idx="1281">
                  <c:v>44017</c:v>
                </c:pt>
                <c:pt idx="1282">
                  <c:v>44018</c:v>
                </c:pt>
                <c:pt idx="1283">
                  <c:v>44019</c:v>
                </c:pt>
                <c:pt idx="1284">
                  <c:v>44020</c:v>
                </c:pt>
                <c:pt idx="1285">
                  <c:v>44021</c:v>
                </c:pt>
                <c:pt idx="1286">
                  <c:v>44022</c:v>
                </c:pt>
                <c:pt idx="1287">
                  <c:v>44023</c:v>
                </c:pt>
                <c:pt idx="1288">
                  <c:v>44024</c:v>
                </c:pt>
                <c:pt idx="1289">
                  <c:v>44025</c:v>
                </c:pt>
                <c:pt idx="1290">
                  <c:v>44026</c:v>
                </c:pt>
                <c:pt idx="1291">
                  <c:v>44027</c:v>
                </c:pt>
                <c:pt idx="1292">
                  <c:v>44028</c:v>
                </c:pt>
                <c:pt idx="1293">
                  <c:v>44029</c:v>
                </c:pt>
                <c:pt idx="1294">
                  <c:v>44030</c:v>
                </c:pt>
                <c:pt idx="1295">
                  <c:v>44031</c:v>
                </c:pt>
                <c:pt idx="1296">
                  <c:v>44032</c:v>
                </c:pt>
                <c:pt idx="1297">
                  <c:v>44033</c:v>
                </c:pt>
                <c:pt idx="1298">
                  <c:v>44034</c:v>
                </c:pt>
                <c:pt idx="1299">
                  <c:v>44035</c:v>
                </c:pt>
                <c:pt idx="1300">
                  <c:v>44036</c:v>
                </c:pt>
                <c:pt idx="1301">
                  <c:v>44037</c:v>
                </c:pt>
                <c:pt idx="1302">
                  <c:v>44038</c:v>
                </c:pt>
                <c:pt idx="1303">
                  <c:v>44039</c:v>
                </c:pt>
                <c:pt idx="1304">
                  <c:v>44040</c:v>
                </c:pt>
                <c:pt idx="1305">
                  <c:v>44041</c:v>
                </c:pt>
                <c:pt idx="1306">
                  <c:v>44042</c:v>
                </c:pt>
                <c:pt idx="1307">
                  <c:v>44043</c:v>
                </c:pt>
                <c:pt idx="1308">
                  <c:v>44044</c:v>
                </c:pt>
                <c:pt idx="1309">
                  <c:v>44045</c:v>
                </c:pt>
                <c:pt idx="1310">
                  <c:v>44046</c:v>
                </c:pt>
                <c:pt idx="1311">
                  <c:v>44047</c:v>
                </c:pt>
                <c:pt idx="1312">
                  <c:v>44048</c:v>
                </c:pt>
                <c:pt idx="1313">
                  <c:v>44049</c:v>
                </c:pt>
                <c:pt idx="1314">
                  <c:v>44050</c:v>
                </c:pt>
                <c:pt idx="1315">
                  <c:v>44051</c:v>
                </c:pt>
                <c:pt idx="1316">
                  <c:v>44052</c:v>
                </c:pt>
                <c:pt idx="1317">
                  <c:v>44053</c:v>
                </c:pt>
                <c:pt idx="1318">
                  <c:v>44054</c:v>
                </c:pt>
                <c:pt idx="1319">
                  <c:v>44055</c:v>
                </c:pt>
                <c:pt idx="1320">
                  <c:v>44056</c:v>
                </c:pt>
                <c:pt idx="1321">
                  <c:v>44057</c:v>
                </c:pt>
                <c:pt idx="1322">
                  <c:v>44058</c:v>
                </c:pt>
                <c:pt idx="1323">
                  <c:v>44059</c:v>
                </c:pt>
                <c:pt idx="1324">
                  <c:v>44060</c:v>
                </c:pt>
                <c:pt idx="1325">
                  <c:v>44061</c:v>
                </c:pt>
                <c:pt idx="1326">
                  <c:v>44062</c:v>
                </c:pt>
                <c:pt idx="1327">
                  <c:v>44063</c:v>
                </c:pt>
                <c:pt idx="1328">
                  <c:v>44064</c:v>
                </c:pt>
                <c:pt idx="1329">
                  <c:v>44065</c:v>
                </c:pt>
                <c:pt idx="1330">
                  <c:v>44066</c:v>
                </c:pt>
                <c:pt idx="1331">
                  <c:v>44067</c:v>
                </c:pt>
                <c:pt idx="1332">
                  <c:v>44068</c:v>
                </c:pt>
                <c:pt idx="1333">
                  <c:v>44069</c:v>
                </c:pt>
                <c:pt idx="1334">
                  <c:v>44070</c:v>
                </c:pt>
                <c:pt idx="1335">
                  <c:v>44071</c:v>
                </c:pt>
                <c:pt idx="1336">
                  <c:v>44072</c:v>
                </c:pt>
                <c:pt idx="1337">
                  <c:v>44073</c:v>
                </c:pt>
                <c:pt idx="1338">
                  <c:v>44074</c:v>
                </c:pt>
                <c:pt idx="1339">
                  <c:v>44075</c:v>
                </c:pt>
                <c:pt idx="1340">
                  <c:v>44076</c:v>
                </c:pt>
                <c:pt idx="1341">
                  <c:v>44077</c:v>
                </c:pt>
                <c:pt idx="1342">
                  <c:v>44078</c:v>
                </c:pt>
                <c:pt idx="1343">
                  <c:v>44079</c:v>
                </c:pt>
                <c:pt idx="1344">
                  <c:v>44080</c:v>
                </c:pt>
                <c:pt idx="1345">
                  <c:v>44081</c:v>
                </c:pt>
                <c:pt idx="1346">
                  <c:v>44082</c:v>
                </c:pt>
                <c:pt idx="1347">
                  <c:v>44083</c:v>
                </c:pt>
                <c:pt idx="1348">
                  <c:v>44084</c:v>
                </c:pt>
                <c:pt idx="1349">
                  <c:v>44085</c:v>
                </c:pt>
                <c:pt idx="1350">
                  <c:v>44086</c:v>
                </c:pt>
                <c:pt idx="1351">
                  <c:v>44087</c:v>
                </c:pt>
                <c:pt idx="1352">
                  <c:v>44088</c:v>
                </c:pt>
                <c:pt idx="1353">
                  <c:v>44089</c:v>
                </c:pt>
                <c:pt idx="1354">
                  <c:v>44090</c:v>
                </c:pt>
                <c:pt idx="1355">
                  <c:v>44091</c:v>
                </c:pt>
                <c:pt idx="1356">
                  <c:v>44092</c:v>
                </c:pt>
                <c:pt idx="1357">
                  <c:v>44093</c:v>
                </c:pt>
                <c:pt idx="1358">
                  <c:v>44094</c:v>
                </c:pt>
                <c:pt idx="1359">
                  <c:v>44095</c:v>
                </c:pt>
                <c:pt idx="1360">
                  <c:v>44096</c:v>
                </c:pt>
                <c:pt idx="1361">
                  <c:v>44097</c:v>
                </c:pt>
                <c:pt idx="1362">
                  <c:v>44098</c:v>
                </c:pt>
                <c:pt idx="1363">
                  <c:v>44099</c:v>
                </c:pt>
                <c:pt idx="1364">
                  <c:v>44100</c:v>
                </c:pt>
                <c:pt idx="1365">
                  <c:v>44101</c:v>
                </c:pt>
                <c:pt idx="1366">
                  <c:v>44102</c:v>
                </c:pt>
                <c:pt idx="1367">
                  <c:v>44103</c:v>
                </c:pt>
                <c:pt idx="1368">
                  <c:v>44104</c:v>
                </c:pt>
                <c:pt idx="1369">
                  <c:v>44105</c:v>
                </c:pt>
                <c:pt idx="1370">
                  <c:v>44106</c:v>
                </c:pt>
                <c:pt idx="1371">
                  <c:v>44107</c:v>
                </c:pt>
                <c:pt idx="1372">
                  <c:v>44108</c:v>
                </c:pt>
                <c:pt idx="1373">
                  <c:v>44109</c:v>
                </c:pt>
                <c:pt idx="1374">
                  <c:v>44110</c:v>
                </c:pt>
                <c:pt idx="1375">
                  <c:v>44111</c:v>
                </c:pt>
                <c:pt idx="1376">
                  <c:v>44112</c:v>
                </c:pt>
                <c:pt idx="1377">
                  <c:v>44113</c:v>
                </c:pt>
                <c:pt idx="1378">
                  <c:v>44114</c:v>
                </c:pt>
                <c:pt idx="1379">
                  <c:v>44115</c:v>
                </c:pt>
                <c:pt idx="1380">
                  <c:v>44116</c:v>
                </c:pt>
                <c:pt idx="1381">
                  <c:v>44117</c:v>
                </c:pt>
                <c:pt idx="1382">
                  <c:v>44118</c:v>
                </c:pt>
                <c:pt idx="1383">
                  <c:v>44119</c:v>
                </c:pt>
                <c:pt idx="1384">
                  <c:v>44120</c:v>
                </c:pt>
                <c:pt idx="1385">
                  <c:v>44121</c:v>
                </c:pt>
                <c:pt idx="1386">
                  <c:v>44122</c:v>
                </c:pt>
                <c:pt idx="1387">
                  <c:v>44123</c:v>
                </c:pt>
                <c:pt idx="1388">
                  <c:v>44124</c:v>
                </c:pt>
                <c:pt idx="1389">
                  <c:v>44125</c:v>
                </c:pt>
                <c:pt idx="1390">
                  <c:v>44126</c:v>
                </c:pt>
                <c:pt idx="1391">
                  <c:v>44127</c:v>
                </c:pt>
                <c:pt idx="1392">
                  <c:v>44128</c:v>
                </c:pt>
                <c:pt idx="1393">
                  <c:v>44129</c:v>
                </c:pt>
                <c:pt idx="1394">
                  <c:v>44130</c:v>
                </c:pt>
                <c:pt idx="1395">
                  <c:v>44131</c:v>
                </c:pt>
                <c:pt idx="1396">
                  <c:v>44132</c:v>
                </c:pt>
                <c:pt idx="1397">
                  <c:v>44133</c:v>
                </c:pt>
                <c:pt idx="1398">
                  <c:v>44134</c:v>
                </c:pt>
                <c:pt idx="1399">
                  <c:v>44135</c:v>
                </c:pt>
                <c:pt idx="1400">
                  <c:v>44136</c:v>
                </c:pt>
                <c:pt idx="1401">
                  <c:v>44137</c:v>
                </c:pt>
                <c:pt idx="1402">
                  <c:v>44138</c:v>
                </c:pt>
                <c:pt idx="1403">
                  <c:v>44139</c:v>
                </c:pt>
                <c:pt idx="1404">
                  <c:v>44140</c:v>
                </c:pt>
                <c:pt idx="1405">
                  <c:v>44141</c:v>
                </c:pt>
                <c:pt idx="1406">
                  <c:v>44142</c:v>
                </c:pt>
                <c:pt idx="1407">
                  <c:v>44143</c:v>
                </c:pt>
                <c:pt idx="1408">
                  <c:v>44144</c:v>
                </c:pt>
                <c:pt idx="1409">
                  <c:v>44145</c:v>
                </c:pt>
                <c:pt idx="1410">
                  <c:v>44146</c:v>
                </c:pt>
                <c:pt idx="1411">
                  <c:v>44147</c:v>
                </c:pt>
                <c:pt idx="1412">
                  <c:v>44148</c:v>
                </c:pt>
                <c:pt idx="1413">
                  <c:v>44149</c:v>
                </c:pt>
                <c:pt idx="1414">
                  <c:v>44150</c:v>
                </c:pt>
                <c:pt idx="1415">
                  <c:v>44151</c:v>
                </c:pt>
                <c:pt idx="1416">
                  <c:v>44152</c:v>
                </c:pt>
                <c:pt idx="1417">
                  <c:v>44153</c:v>
                </c:pt>
                <c:pt idx="1418">
                  <c:v>44154</c:v>
                </c:pt>
                <c:pt idx="1419">
                  <c:v>44155</c:v>
                </c:pt>
                <c:pt idx="1420">
                  <c:v>44156</c:v>
                </c:pt>
                <c:pt idx="1421">
                  <c:v>44157</c:v>
                </c:pt>
                <c:pt idx="1422">
                  <c:v>44158</c:v>
                </c:pt>
                <c:pt idx="1423">
                  <c:v>44159</c:v>
                </c:pt>
                <c:pt idx="1424">
                  <c:v>44160</c:v>
                </c:pt>
                <c:pt idx="1425">
                  <c:v>44161</c:v>
                </c:pt>
                <c:pt idx="1426">
                  <c:v>44162</c:v>
                </c:pt>
                <c:pt idx="1427">
                  <c:v>44163</c:v>
                </c:pt>
                <c:pt idx="1428">
                  <c:v>44164</c:v>
                </c:pt>
                <c:pt idx="1429">
                  <c:v>44165</c:v>
                </c:pt>
                <c:pt idx="1430">
                  <c:v>44166</c:v>
                </c:pt>
                <c:pt idx="1431">
                  <c:v>44167</c:v>
                </c:pt>
                <c:pt idx="1432">
                  <c:v>44168</c:v>
                </c:pt>
                <c:pt idx="1433">
                  <c:v>44169</c:v>
                </c:pt>
                <c:pt idx="1434">
                  <c:v>44170</c:v>
                </c:pt>
                <c:pt idx="1435">
                  <c:v>44171</c:v>
                </c:pt>
                <c:pt idx="1436">
                  <c:v>44172</c:v>
                </c:pt>
                <c:pt idx="1437">
                  <c:v>44173</c:v>
                </c:pt>
                <c:pt idx="1438">
                  <c:v>44174</c:v>
                </c:pt>
                <c:pt idx="1439">
                  <c:v>44175</c:v>
                </c:pt>
                <c:pt idx="1440">
                  <c:v>44176</c:v>
                </c:pt>
                <c:pt idx="1441">
                  <c:v>44177</c:v>
                </c:pt>
                <c:pt idx="1442">
                  <c:v>44178</c:v>
                </c:pt>
                <c:pt idx="1443">
                  <c:v>44179</c:v>
                </c:pt>
                <c:pt idx="1444">
                  <c:v>44180</c:v>
                </c:pt>
                <c:pt idx="1445">
                  <c:v>44181</c:v>
                </c:pt>
                <c:pt idx="1446">
                  <c:v>44182</c:v>
                </c:pt>
                <c:pt idx="1447">
                  <c:v>44183</c:v>
                </c:pt>
                <c:pt idx="1448">
                  <c:v>44184</c:v>
                </c:pt>
                <c:pt idx="1449">
                  <c:v>44185</c:v>
                </c:pt>
                <c:pt idx="1450">
                  <c:v>44186</c:v>
                </c:pt>
                <c:pt idx="1451">
                  <c:v>44187</c:v>
                </c:pt>
                <c:pt idx="1452">
                  <c:v>44188</c:v>
                </c:pt>
                <c:pt idx="1453">
                  <c:v>44189</c:v>
                </c:pt>
                <c:pt idx="1454">
                  <c:v>44190</c:v>
                </c:pt>
                <c:pt idx="1455">
                  <c:v>44191</c:v>
                </c:pt>
                <c:pt idx="1456">
                  <c:v>44192</c:v>
                </c:pt>
                <c:pt idx="1457">
                  <c:v>44193</c:v>
                </c:pt>
                <c:pt idx="1458">
                  <c:v>44194</c:v>
                </c:pt>
                <c:pt idx="1459">
                  <c:v>44195</c:v>
                </c:pt>
                <c:pt idx="1460">
                  <c:v>44196</c:v>
                </c:pt>
                <c:pt idx="1461">
                  <c:v>44197</c:v>
                </c:pt>
                <c:pt idx="1462">
                  <c:v>44198</c:v>
                </c:pt>
                <c:pt idx="1463">
                  <c:v>44199</c:v>
                </c:pt>
                <c:pt idx="1464">
                  <c:v>44200</c:v>
                </c:pt>
                <c:pt idx="1465">
                  <c:v>44201</c:v>
                </c:pt>
                <c:pt idx="1466">
                  <c:v>44202</c:v>
                </c:pt>
                <c:pt idx="1467">
                  <c:v>44203</c:v>
                </c:pt>
                <c:pt idx="1468">
                  <c:v>44204</c:v>
                </c:pt>
                <c:pt idx="1469">
                  <c:v>44205</c:v>
                </c:pt>
                <c:pt idx="1470">
                  <c:v>44206</c:v>
                </c:pt>
                <c:pt idx="1471">
                  <c:v>44207</c:v>
                </c:pt>
                <c:pt idx="1472">
                  <c:v>44208</c:v>
                </c:pt>
                <c:pt idx="1473">
                  <c:v>44209</c:v>
                </c:pt>
                <c:pt idx="1474">
                  <c:v>44210</c:v>
                </c:pt>
                <c:pt idx="1475">
                  <c:v>44211</c:v>
                </c:pt>
                <c:pt idx="1476">
                  <c:v>44212</c:v>
                </c:pt>
                <c:pt idx="1477">
                  <c:v>44213</c:v>
                </c:pt>
                <c:pt idx="1478">
                  <c:v>44214</c:v>
                </c:pt>
                <c:pt idx="1479">
                  <c:v>44215</c:v>
                </c:pt>
                <c:pt idx="1480">
                  <c:v>44216</c:v>
                </c:pt>
                <c:pt idx="1481">
                  <c:v>44217</c:v>
                </c:pt>
                <c:pt idx="1482">
                  <c:v>44218</c:v>
                </c:pt>
                <c:pt idx="1483">
                  <c:v>44219</c:v>
                </c:pt>
                <c:pt idx="1484">
                  <c:v>44220</c:v>
                </c:pt>
                <c:pt idx="1485">
                  <c:v>44221</c:v>
                </c:pt>
                <c:pt idx="1486">
                  <c:v>44222</c:v>
                </c:pt>
                <c:pt idx="1487">
                  <c:v>44223</c:v>
                </c:pt>
                <c:pt idx="1488">
                  <c:v>44224</c:v>
                </c:pt>
                <c:pt idx="1489">
                  <c:v>44225</c:v>
                </c:pt>
                <c:pt idx="1490">
                  <c:v>44226</c:v>
                </c:pt>
                <c:pt idx="1491">
                  <c:v>44227</c:v>
                </c:pt>
                <c:pt idx="1492">
                  <c:v>44228</c:v>
                </c:pt>
                <c:pt idx="1493">
                  <c:v>44229</c:v>
                </c:pt>
                <c:pt idx="1494">
                  <c:v>44230</c:v>
                </c:pt>
                <c:pt idx="1495">
                  <c:v>44231</c:v>
                </c:pt>
                <c:pt idx="1496">
                  <c:v>44232</c:v>
                </c:pt>
                <c:pt idx="1497">
                  <c:v>44233</c:v>
                </c:pt>
                <c:pt idx="1498">
                  <c:v>44234</c:v>
                </c:pt>
                <c:pt idx="1499">
                  <c:v>44235</c:v>
                </c:pt>
                <c:pt idx="1500">
                  <c:v>44236</c:v>
                </c:pt>
                <c:pt idx="1501">
                  <c:v>44237</c:v>
                </c:pt>
                <c:pt idx="1502">
                  <c:v>44238</c:v>
                </c:pt>
                <c:pt idx="1503">
                  <c:v>44239</c:v>
                </c:pt>
                <c:pt idx="1504">
                  <c:v>44240</c:v>
                </c:pt>
                <c:pt idx="1505">
                  <c:v>44241</c:v>
                </c:pt>
                <c:pt idx="1506">
                  <c:v>44242</c:v>
                </c:pt>
                <c:pt idx="1507">
                  <c:v>44243</c:v>
                </c:pt>
                <c:pt idx="1508">
                  <c:v>44244</c:v>
                </c:pt>
                <c:pt idx="1509">
                  <c:v>44245</c:v>
                </c:pt>
                <c:pt idx="1510">
                  <c:v>44246</c:v>
                </c:pt>
                <c:pt idx="1511">
                  <c:v>44247</c:v>
                </c:pt>
                <c:pt idx="1512">
                  <c:v>44248</c:v>
                </c:pt>
                <c:pt idx="1513">
                  <c:v>44249</c:v>
                </c:pt>
                <c:pt idx="1514">
                  <c:v>44250</c:v>
                </c:pt>
                <c:pt idx="1515">
                  <c:v>44251</c:v>
                </c:pt>
                <c:pt idx="1516">
                  <c:v>44252</c:v>
                </c:pt>
                <c:pt idx="1517">
                  <c:v>44253</c:v>
                </c:pt>
                <c:pt idx="1518">
                  <c:v>44254</c:v>
                </c:pt>
                <c:pt idx="1519">
                  <c:v>44255</c:v>
                </c:pt>
                <c:pt idx="1520">
                  <c:v>44256</c:v>
                </c:pt>
                <c:pt idx="1521">
                  <c:v>44257</c:v>
                </c:pt>
                <c:pt idx="1522">
                  <c:v>44258</c:v>
                </c:pt>
                <c:pt idx="1523">
                  <c:v>44259</c:v>
                </c:pt>
                <c:pt idx="1524">
                  <c:v>44260</c:v>
                </c:pt>
                <c:pt idx="1525">
                  <c:v>44261</c:v>
                </c:pt>
                <c:pt idx="1526">
                  <c:v>44262</c:v>
                </c:pt>
                <c:pt idx="1527">
                  <c:v>44263</c:v>
                </c:pt>
                <c:pt idx="1528">
                  <c:v>44264</c:v>
                </c:pt>
                <c:pt idx="1529">
                  <c:v>44265</c:v>
                </c:pt>
                <c:pt idx="1530">
                  <c:v>44266</c:v>
                </c:pt>
                <c:pt idx="1531">
                  <c:v>44267</c:v>
                </c:pt>
                <c:pt idx="1532">
                  <c:v>44268</c:v>
                </c:pt>
                <c:pt idx="1533">
                  <c:v>44269</c:v>
                </c:pt>
                <c:pt idx="1534">
                  <c:v>44270</c:v>
                </c:pt>
                <c:pt idx="1535">
                  <c:v>44271</c:v>
                </c:pt>
                <c:pt idx="1536">
                  <c:v>44272</c:v>
                </c:pt>
                <c:pt idx="1537">
                  <c:v>44273</c:v>
                </c:pt>
                <c:pt idx="1538">
                  <c:v>44274</c:v>
                </c:pt>
                <c:pt idx="1539">
                  <c:v>44275</c:v>
                </c:pt>
                <c:pt idx="1540">
                  <c:v>44276</c:v>
                </c:pt>
                <c:pt idx="1541">
                  <c:v>44277</c:v>
                </c:pt>
                <c:pt idx="1542">
                  <c:v>44278</c:v>
                </c:pt>
                <c:pt idx="1543">
                  <c:v>44279</c:v>
                </c:pt>
                <c:pt idx="1544">
                  <c:v>44280</c:v>
                </c:pt>
                <c:pt idx="1545">
                  <c:v>44281</c:v>
                </c:pt>
                <c:pt idx="1546">
                  <c:v>44282</c:v>
                </c:pt>
                <c:pt idx="1547">
                  <c:v>44283</c:v>
                </c:pt>
                <c:pt idx="1548">
                  <c:v>44284</c:v>
                </c:pt>
                <c:pt idx="1549">
                  <c:v>44285</c:v>
                </c:pt>
                <c:pt idx="1550">
                  <c:v>44286</c:v>
                </c:pt>
                <c:pt idx="1551">
                  <c:v>44287</c:v>
                </c:pt>
                <c:pt idx="1552">
                  <c:v>44288</c:v>
                </c:pt>
                <c:pt idx="1553">
                  <c:v>44289</c:v>
                </c:pt>
                <c:pt idx="1554">
                  <c:v>44290</c:v>
                </c:pt>
                <c:pt idx="1555">
                  <c:v>44291</c:v>
                </c:pt>
                <c:pt idx="1556">
                  <c:v>44292</c:v>
                </c:pt>
                <c:pt idx="1557">
                  <c:v>44293</c:v>
                </c:pt>
                <c:pt idx="1558">
                  <c:v>44294</c:v>
                </c:pt>
                <c:pt idx="1559">
                  <c:v>44295</c:v>
                </c:pt>
                <c:pt idx="1560">
                  <c:v>44296</c:v>
                </c:pt>
                <c:pt idx="1561">
                  <c:v>44297</c:v>
                </c:pt>
                <c:pt idx="1562">
                  <c:v>44298</c:v>
                </c:pt>
                <c:pt idx="1563">
                  <c:v>44299</c:v>
                </c:pt>
                <c:pt idx="1564">
                  <c:v>44300</c:v>
                </c:pt>
                <c:pt idx="1565">
                  <c:v>44301</c:v>
                </c:pt>
                <c:pt idx="1566">
                  <c:v>44302</c:v>
                </c:pt>
                <c:pt idx="1567">
                  <c:v>44303</c:v>
                </c:pt>
                <c:pt idx="1568">
                  <c:v>44304</c:v>
                </c:pt>
                <c:pt idx="1569">
                  <c:v>44305</c:v>
                </c:pt>
                <c:pt idx="1570">
                  <c:v>44306</c:v>
                </c:pt>
                <c:pt idx="1571">
                  <c:v>44307</c:v>
                </c:pt>
                <c:pt idx="1572">
                  <c:v>44308</c:v>
                </c:pt>
                <c:pt idx="1573">
                  <c:v>44309</c:v>
                </c:pt>
                <c:pt idx="1574">
                  <c:v>44310</c:v>
                </c:pt>
                <c:pt idx="1575">
                  <c:v>44311</c:v>
                </c:pt>
                <c:pt idx="1576">
                  <c:v>44312</c:v>
                </c:pt>
                <c:pt idx="1577">
                  <c:v>44313</c:v>
                </c:pt>
                <c:pt idx="1578">
                  <c:v>44314</c:v>
                </c:pt>
                <c:pt idx="1579">
                  <c:v>44315</c:v>
                </c:pt>
                <c:pt idx="1580">
                  <c:v>44316</c:v>
                </c:pt>
                <c:pt idx="1581">
                  <c:v>44317</c:v>
                </c:pt>
                <c:pt idx="1582">
                  <c:v>44318</c:v>
                </c:pt>
                <c:pt idx="1583">
                  <c:v>44319</c:v>
                </c:pt>
                <c:pt idx="1584">
                  <c:v>44320</c:v>
                </c:pt>
                <c:pt idx="1585">
                  <c:v>44321</c:v>
                </c:pt>
                <c:pt idx="1586">
                  <c:v>44322</c:v>
                </c:pt>
                <c:pt idx="1587">
                  <c:v>44323</c:v>
                </c:pt>
                <c:pt idx="1588">
                  <c:v>44324</c:v>
                </c:pt>
                <c:pt idx="1589">
                  <c:v>44325</c:v>
                </c:pt>
                <c:pt idx="1590">
                  <c:v>44326</c:v>
                </c:pt>
                <c:pt idx="1591">
                  <c:v>44327</c:v>
                </c:pt>
                <c:pt idx="1592">
                  <c:v>44328</c:v>
                </c:pt>
                <c:pt idx="1593">
                  <c:v>44329</c:v>
                </c:pt>
                <c:pt idx="1594">
                  <c:v>44330</c:v>
                </c:pt>
                <c:pt idx="1595">
                  <c:v>44331</c:v>
                </c:pt>
                <c:pt idx="1596">
                  <c:v>44332</c:v>
                </c:pt>
                <c:pt idx="1597">
                  <c:v>44333</c:v>
                </c:pt>
                <c:pt idx="1598">
                  <c:v>44334</c:v>
                </c:pt>
                <c:pt idx="1599">
                  <c:v>44335</c:v>
                </c:pt>
                <c:pt idx="1600">
                  <c:v>44336</c:v>
                </c:pt>
                <c:pt idx="1601">
                  <c:v>44337</c:v>
                </c:pt>
                <c:pt idx="1602">
                  <c:v>44338</c:v>
                </c:pt>
                <c:pt idx="1603">
                  <c:v>44339</c:v>
                </c:pt>
                <c:pt idx="1604">
                  <c:v>44340</c:v>
                </c:pt>
                <c:pt idx="1605">
                  <c:v>44341</c:v>
                </c:pt>
                <c:pt idx="1606">
                  <c:v>44342</c:v>
                </c:pt>
                <c:pt idx="1607">
                  <c:v>44343</c:v>
                </c:pt>
                <c:pt idx="1608">
                  <c:v>44344</c:v>
                </c:pt>
                <c:pt idx="1609">
                  <c:v>44345</c:v>
                </c:pt>
                <c:pt idx="1610">
                  <c:v>44346</c:v>
                </c:pt>
                <c:pt idx="1611">
                  <c:v>44347</c:v>
                </c:pt>
                <c:pt idx="1612">
                  <c:v>44348</c:v>
                </c:pt>
                <c:pt idx="1613">
                  <c:v>44349</c:v>
                </c:pt>
                <c:pt idx="1614">
                  <c:v>44350</c:v>
                </c:pt>
                <c:pt idx="1615">
                  <c:v>44351</c:v>
                </c:pt>
                <c:pt idx="1616">
                  <c:v>44352</c:v>
                </c:pt>
                <c:pt idx="1617">
                  <c:v>44353</c:v>
                </c:pt>
                <c:pt idx="1618">
                  <c:v>44354</c:v>
                </c:pt>
                <c:pt idx="1619">
                  <c:v>44355</c:v>
                </c:pt>
                <c:pt idx="1620">
                  <c:v>44356</c:v>
                </c:pt>
                <c:pt idx="1621">
                  <c:v>44357</c:v>
                </c:pt>
                <c:pt idx="1622">
                  <c:v>44358</c:v>
                </c:pt>
                <c:pt idx="1623">
                  <c:v>44359</c:v>
                </c:pt>
                <c:pt idx="1624">
                  <c:v>44360</c:v>
                </c:pt>
                <c:pt idx="1625">
                  <c:v>44361</c:v>
                </c:pt>
                <c:pt idx="1626">
                  <c:v>44362</c:v>
                </c:pt>
                <c:pt idx="1627">
                  <c:v>44363</c:v>
                </c:pt>
                <c:pt idx="1628">
                  <c:v>44364</c:v>
                </c:pt>
                <c:pt idx="1629">
                  <c:v>44365</c:v>
                </c:pt>
                <c:pt idx="1630">
                  <c:v>44366</c:v>
                </c:pt>
                <c:pt idx="1631">
                  <c:v>44367</c:v>
                </c:pt>
                <c:pt idx="1632">
                  <c:v>44368</c:v>
                </c:pt>
                <c:pt idx="1633">
                  <c:v>44369</c:v>
                </c:pt>
                <c:pt idx="1634">
                  <c:v>44370</c:v>
                </c:pt>
                <c:pt idx="1635">
                  <c:v>44371</c:v>
                </c:pt>
                <c:pt idx="1636">
                  <c:v>44372</c:v>
                </c:pt>
                <c:pt idx="1637">
                  <c:v>44373</c:v>
                </c:pt>
                <c:pt idx="1638">
                  <c:v>44374</c:v>
                </c:pt>
                <c:pt idx="1639">
                  <c:v>44375</c:v>
                </c:pt>
                <c:pt idx="1640">
                  <c:v>44376</c:v>
                </c:pt>
                <c:pt idx="1641">
                  <c:v>44377</c:v>
                </c:pt>
                <c:pt idx="1642">
                  <c:v>44378</c:v>
                </c:pt>
                <c:pt idx="1643">
                  <c:v>44379</c:v>
                </c:pt>
                <c:pt idx="1644">
                  <c:v>44380</c:v>
                </c:pt>
                <c:pt idx="1645">
                  <c:v>44381</c:v>
                </c:pt>
                <c:pt idx="1646">
                  <c:v>44382</c:v>
                </c:pt>
                <c:pt idx="1647">
                  <c:v>44383</c:v>
                </c:pt>
                <c:pt idx="1648">
                  <c:v>44384</c:v>
                </c:pt>
                <c:pt idx="1649">
                  <c:v>44385</c:v>
                </c:pt>
                <c:pt idx="1650">
                  <c:v>44386</c:v>
                </c:pt>
                <c:pt idx="1651">
                  <c:v>44387</c:v>
                </c:pt>
                <c:pt idx="1652">
                  <c:v>44388</c:v>
                </c:pt>
                <c:pt idx="1653">
                  <c:v>44389</c:v>
                </c:pt>
                <c:pt idx="1654">
                  <c:v>44390</c:v>
                </c:pt>
                <c:pt idx="1655">
                  <c:v>44391</c:v>
                </c:pt>
                <c:pt idx="1656">
                  <c:v>44392</c:v>
                </c:pt>
                <c:pt idx="1657">
                  <c:v>44393</c:v>
                </c:pt>
                <c:pt idx="1658">
                  <c:v>44394</c:v>
                </c:pt>
                <c:pt idx="1659">
                  <c:v>44395</c:v>
                </c:pt>
                <c:pt idx="1660">
                  <c:v>44396</c:v>
                </c:pt>
                <c:pt idx="1661">
                  <c:v>44397</c:v>
                </c:pt>
                <c:pt idx="1662">
                  <c:v>44398</c:v>
                </c:pt>
                <c:pt idx="1663">
                  <c:v>44399</c:v>
                </c:pt>
                <c:pt idx="1664">
                  <c:v>44400</c:v>
                </c:pt>
                <c:pt idx="1665">
                  <c:v>44401</c:v>
                </c:pt>
                <c:pt idx="1666">
                  <c:v>44402</c:v>
                </c:pt>
                <c:pt idx="1667">
                  <c:v>44403</c:v>
                </c:pt>
                <c:pt idx="1668">
                  <c:v>44404</c:v>
                </c:pt>
                <c:pt idx="1669">
                  <c:v>44405</c:v>
                </c:pt>
                <c:pt idx="1670">
                  <c:v>44406</c:v>
                </c:pt>
                <c:pt idx="1671">
                  <c:v>44407</c:v>
                </c:pt>
                <c:pt idx="1672">
                  <c:v>44408</c:v>
                </c:pt>
                <c:pt idx="1673">
                  <c:v>44409</c:v>
                </c:pt>
                <c:pt idx="1674">
                  <c:v>44410</c:v>
                </c:pt>
                <c:pt idx="1675">
                  <c:v>44411</c:v>
                </c:pt>
                <c:pt idx="1676">
                  <c:v>44412</c:v>
                </c:pt>
                <c:pt idx="1677">
                  <c:v>44413</c:v>
                </c:pt>
                <c:pt idx="1678">
                  <c:v>44414</c:v>
                </c:pt>
                <c:pt idx="1679">
                  <c:v>44415</c:v>
                </c:pt>
                <c:pt idx="1680">
                  <c:v>44416</c:v>
                </c:pt>
                <c:pt idx="1681">
                  <c:v>44417</c:v>
                </c:pt>
                <c:pt idx="1682">
                  <c:v>44418</c:v>
                </c:pt>
                <c:pt idx="1683">
                  <c:v>44419</c:v>
                </c:pt>
                <c:pt idx="1684">
                  <c:v>44420</c:v>
                </c:pt>
                <c:pt idx="1685">
                  <c:v>44421</c:v>
                </c:pt>
                <c:pt idx="1686">
                  <c:v>44422</c:v>
                </c:pt>
                <c:pt idx="1687">
                  <c:v>44423</c:v>
                </c:pt>
                <c:pt idx="1688">
                  <c:v>44424</c:v>
                </c:pt>
                <c:pt idx="1689">
                  <c:v>44425</c:v>
                </c:pt>
                <c:pt idx="1690">
                  <c:v>44426</c:v>
                </c:pt>
                <c:pt idx="1691">
                  <c:v>44427</c:v>
                </c:pt>
                <c:pt idx="1692">
                  <c:v>44428</c:v>
                </c:pt>
                <c:pt idx="1693">
                  <c:v>44429</c:v>
                </c:pt>
                <c:pt idx="1694">
                  <c:v>44430</c:v>
                </c:pt>
                <c:pt idx="1695">
                  <c:v>44431</c:v>
                </c:pt>
                <c:pt idx="1696">
                  <c:v>44432</c:v>
                </c:pt>
                <c:pt idx="1697">
                  <c:v>44433</c:v>
                </c:pt>
                <c:pt idx="1698">
                  <c:v>44434</c:v>
                </c:pt>
                <c:pt idx="1699">
                  <c:v>44435</c:v>
                </c:pt>
                <c:pt idx="1700">
                  <c:v>44436</c:v>
                </c:pt>
                <c:pt idx="1701">
                  <c:v>44437</c:v>
                </c:pt>
                <c:pt idx="1702">
                  <c:v>44438</c:v>
                </c:pt>
                <c:pt idx="1703">
                  <c:v>44439</c:v>
                </c:pt>
                <c:pt idx="1704">
                  <c:v>44440</c:v>
                </c:pt>
                <c:pt idx="1705">
                  <c:v>44441</c:v>
                </c:pt>
                <c:pt idx="1706">
                  <c:v>44442</c:v>
                </c:pt>
                <c:pt idx="1707">
                  <c:v>44443</c:v>
                </c:pt>
                <c:pt idx="1708">
                  <c:v>44444</c:v>
                </c:pt>
                <c:pt idx="1709">
                  <c:v>44445</c:v>
                </c:pt>
                <c:pt idx="1710">
                  <c:v>44446</c:v>
                </c:pt>
                <c:pt idx="1711">
                  <c:v>44447</c:v>
                </c:pt>
                <c:pt idx="1712">
                  <c:v>44448</c:v>
                </c:pt>
                <c:pt idx="1713">
                  <c:v>44449</c:v>
                </c:pt>
                <c:pt idx="1714">
                  <c:v>44450</c:v>
                </c:pt>
                <c:pt idx="1715">
                  <c:v>44451</c:v>
                </c:pt>
                <c:pt idx="1716">
                  <c:v>44452</c:v>
                </c:pt>
                <c:pt idx="1717">
                  <c:v>44453</c:v>
                </c:pt>
                <c:pt idx="1718">
                  <c:v>44454</c:v>
                </c:pt>
                <c:pt idx="1719">
                  <c:v>44455</c:v>
                </c:pt>
                <c:pt idx="1720">
                  <c:v>44456</c:v>
                </c:pt>
                <c:pt idx="1721">
                  <c:v>44457</c:v>
                </c:pt>
                <c:pt idx="1722">
                  <c:v>44458</c:v>
                </c:pt>
                <c:pt idx="1723">
                  <c:v>44459</c:v>
                </c:pt>
                <c:pt idx="1724">
                  <c:v>44460</c:v>
                </c:pt>
                <c:pt idx="1725">
                  <c:v>44461</c:v>
                </c:pt>
                <c:pt idx="1726">
                  <c:v>44462</c:v>
                </c:pt>
                <c:pt idx="1727">
                  <c:v>44463</c:v>
                </c:pt>
                <c:pt idx="1728">
                  <c:v>44464</c:v>
                </c:pt>
                <c:pt idx="1729">
                  <c:v>44465</c:v>
                </c:pt>
                <c:pt idx="1730">
                  <c:v>44466</c:v>
                </c:pt>
                <c:pt idx="1731">
                  <c:v>44467</c:v>
                </c:pt>
                <c:pt idx="1732">
                  <c:v>44468</c:v>
                </c:pt>
                <c:pt idx="1733">
                  <c:v>44469</c:v>
                </c:pt>
                <c:pt idx="1734">
                  <c:v>44470</c:v>
                </c:pt>
                <c:pt idx="1735">
                  <c:v>44471</c:v>
                </c:pt>
                <c:pt idx="1736">
                  <c:v>44472</c:v>
                </c:pt>
                <c:pt idx="1737">
                  <c:v>44473</c:v>
                </c:pt>
                <c:pt idx="1738">
                  <c:v>44474</c:v>
                </c:pt>
                <c:pt idx="1739">
                  <c:v>44475</c:v>
                </c:pt>
                <c:pt idx="1740">
                  <c:v>44476</c:v>
                </c:pt>
                <c:pt idx="1741">
                  <c:v>44477</c:v>
                </c:pt>
                <c:pt idx="1742">
                  <c:v>44478</c:v>
                </c:pt>
                <c:pt idx="1743">
                  <c:v>44479</c:v>
                </c:pt>
                <c:pt idx="1744">
                  <c:v>44480</c:v>
                </c:pt>
                <c:pt idx="1745">
                  <c:v>44481</c:v>
                </c:pt>
                <c:pt idx="1746">
                  <c:v>44482</c:v>
                </c:pt>
                <c:pt idx="1747">
                  <c:v>44483</c:v>
                </c:pt>
                <c:pt idx="1748">
                  <c:v>44484</c:v>
                </c:pt>
                <c:pt idx="1749">
                  <c:v>44485</c:v>
                </c:pt>
                <c:pt idx="1750">
                  <c:v>44486</c:v>
                </c:pt>
                <c:pt idx="1751">
                  <c:v>44487</c:v>
                </c:pt>
                <c:pt idx="1752">
                  <c:v>44488</c:v>
                </c:pt>
                <c:pt idx="1753">
                  <c:v>44489</c:v>
                </c:pt>
                <c:pt idx="1754">
                  <c:v>44490</c:v>
                </c:pt>
                <c:pt idx="1755">
                  <c:v>44491</c:v>
                </c:pt>
                <c:pt idx="1756">
                  <c:v>44492</c:v>
                </c:pt>
                <c:pt idx="1757">
                  <c:v>44493</c:v>
                </c:pt>
                <c:pt idx="1758">
                  <c:v>44494</c:v>
                </c:pt>
                <c:pt idx="1759">
                  <c:v>44495</c:v>
                </c:pt>
                <c:pt idx="1760">
                  <c:v>44496</c:v>
                </c:pt>
                <c:pt idx="1761">
                  <c:v>44497</c:v>
                </c:pt>
                <c:pt idx="1762">
                  <c:v>44498</c:v>
                </c:pt>
                <c:pt idx="1763">
                  <c:v>44499</c:v>
                </c:pt>
                <c:pt idx="1764">
                  <c:v>44500</c:v>
                </c:pt>
                <c:pt idx="1765">
                  <c:v>44501</c:v>
                </c:pt>
                <c:pt idx="1766">
                  <c:v>44502</c:v>
                </c:pt>
                <c:pt idx="1767">
                  <c:v>44503</c:v>
                </c:pt>
                <c:pt idx="1768">
                  <c:v>44504</c:v>
                </c:pt>
                <c:pt idx="1769">
                  <c:v>44505</c:v>
                </c:pt>
                <c:pt idx="1770">
                  <c:v>44506</c:v>
                </c:pt>
                <c:pt idx="1771">
                  <c:v>44507</c:v>
                </c:pt>
                <c:pt idx="1772">
                  <c:v>44508</c:v>
                </c:pt>
                <c:pt idx="1773">
                  <c:v>44509</c:v>
                </c:pt>
                <c:pt idx="1774">
                  <c:v>44510</c:v>
                </c:pt>
                <c:pt idx="1775">
                  <c:v>44511</c:v>
                </c:pt>
                <c:pt idx="1776">
                  <c:v>44512</c:v>
                </c:pt>
                <c:pt idx="1777">
                  <c:v>44513</c:v>
                </c:pt>
                <c:pt idx="1778">
                  <c:v>44514</c:v>
                </c:pt>
                <c:pt idx="1779">
                  <c:v>44515</c:v>
                </c:pt>
                <c:pt idx="1780">
                  <c:v>44516</c:v>
                </c:pt>
                <c:pt idx="1781">
                  <c:v>44517</c:v>
                </c:pt>
                <c:pt idx="1782">
                  <c:v>44518</c:v>
                </c:pt>
                <c:pt idx="1783">
                  <c:v>44519</c:v>
                </c:pt>
                <c:pt idx="1784">
                  <c:v>44520</c:v>
                </c:pt>
                <c:pt idx="1785">
                  <c:v>44521</c:v>
                </c:pt>
                <c:pt idx="1786">
                  <c:v>44522</c:v>
                </c:pt>
                <c:pt idx="1787">
                  <c:v>44523</c:v>
                </c:pt>
                <c:pt idx="1788">
                  <c:v>44524</c:v>
                </c:pt>
                <c:pt idx="1789">
                  <c:v>44525</c:v>
                </c:pt>
                <c:pt idx="1790">
                  <c:v>44526</c:v>
                </c:pt>
                <c:pt idx="1791">
                  <c:v>44527</c:v>
                </c:pt>
                <c:pt idx="1792">
                  <c:v>44528</c:v>
                </c:pt>
                <c:pt idx="1793">
                  <c:v>44529</c:v>
                </c:pt>
                <c:pt idx="1794">
                  <c:v>44530</c:v>
                </c:pt>
                <c:pt idx="1795">
                  <c:v>44531</c:v>
                </c:pt>
                <c:pt idx="1796">
                  <c:v>44532</c:v>
                </c:pt>
                <c:pt idx="1797">
                  <c:v>44533</c:v>
                </c:pt>
                <c:pt idx="1798">
                  <c:v>44534</c:v>
                </c:pt>
                <c:pt idx="1799">
                  <c:v>44535</c:v>
                </c:pt>
                <c:pt idx="1800">
                  <c:v>44536</c:v>
                </c:pt>
                <c:pt idx="1801">
                  <c:v>44537</c:v>
                </c:pt>
                <c:pt idx="1802">
                  <c:v>44538</c:v>
                </c:pt>
                <c:pt idx="1803">
                  <c:v>44539</c:v>
                </c:pt>
                <c:pt idx="1804">
                  <c:v>44540</c:v>
                </c:pt>
                <c:pt idx="1805">
                  <c:v>44541</c:v>
                </c:pt>
                <c:pt idx="1806">
                  <c:v>44542</c:v>
                </c:pt>
                <c:pt idx="1807">
                  <c:v>44543</c:v>
                </c:pt>
                <c:pt idx="1808">
                  <c:v>44544</c:v>
                </c:pt>
                <c:pt idx="1809">
                  <c:v>44545</c:v>
                </c:pt>
                <c:pt idx="1810">
                  <c:v>44546</c:v>
                </c:pt>
                <c:pt idx="1811">
                  <c:v>44547</c:v>
                </c:pt>
                <c:pt idx="1812">
                  <c:v>44548</c:v>
                </c:pt>
                <c:pt idx="1813">
                  <c:v>44549</c:v>
                </c:pt>
                <c:pt idx="1814">
                  <c:v>44550</c:v>
                </c:pt>
                <c:pt idx="1815">
                  <c:v>44551</c:v>
                </c:pt>
                <c:pt idx="1816">
                  <c:v>44552</c:v>
                </c:pt>
                <c:pt idx="1817">
                  <c:v>44553</c:v>
                </c:pt>
                <c:pt idx="1818">
                  <c:v>44554</c:v>
                </c:pt>
                <c:pt idx="1819">
                  <c:v>44555</c:v>
                </c:pt>
                <c:pt idx="1820">
                  <c:v>44556</c:v>
                </c:pt>
                <c:pt idx="1821">
                  <c:v>44557</c:v>
                </c:pt>
                <c:pt idx="1822">
                  <c:v>44558</c:v>
                </c:pt>
                <c:pt idx="1823">
                  <c:v>44559</c:v>
                </c:pt>
                <c:pt idx="1824">
                  <c:v>44560</c:v>
                </c:pt>
                <c:pt idx="1825">
                  <c:v>44561</c:v>
                </c:pt>
                <c:pt idx="1826">
                  <c:v>44562</c:v>
                </c:pt>
                <c:pt idx="1827">
                  <c:v>44563</c:v>
                </c:pt>
                <c:pt idx="1828">
                  <c:v>44564</c:v>
                </c:pt>
                <c:pt idx="1829">
                  <c:v>44565</c:v>
                </c:pt>
                <c:pt idx="1830">
                  <c:v>44566</c:v>
                </c:pt>
                <c:pt idx="1831">
                  <c:v>44567</c:v>
                </c:pt>
                <c:pt idx="1832">
                  <c:v>44568</c:v>
                </c:pt>
                <c:pt idx="1833">
                  <c:v>44569</c:v>
                </c:pt>
                <c:pt idx="1834">
                  <c:v>44570</c:v>
                </c:pt>
                <c:pt idx="1835">
                  <c:v>44571</c:v>
                </c:pt>
                <c:pt idx="1836">
                  <c:v>44572</c:v>
                </c:pt>
                <c:pt idx="1837">
                  <c:v>44573</c:v>
                </c:pt>
                <c:pt idx="1838">
                  <c:v>44574</c:v>
                </c:pt>
                <c:pt idx="1839">
                  <c:v>44575</c:v>
                </c:pt>
                <c:pt idx="1840">
                  <c:v>44576</c:v>
                </c:pt>
                <c:pt idx="1841">
                  <c:v>44577</c:v>
                </c:pt>
                <c:pt idx="1842">
                  <c:v>44578</c:v>
                </c:pt>
                <c:pt idx="1843">
                  <c:v>44579</c:v>
                </c:pt>
                <c:pt idx="1844">
                  <c:v>44580</c:v>
                </c:pt>
                <c:pt idx="1845">
                  <c:v>44581</c:v>
                </c:pt>
                <c:pt idx="1846">
                  <c:v>44582</c:v>
                </c:pt>
                <c:pt idx="1847">
                  <c:v>44583</c:v>
                </c:pt>
                <c:pt idx="1848">
                  <c:v>44584</c:v>
                </c:pt>
                <c:pt idx="1849">
                  <c:v>44585</c:v>
                </c:pt>
                <c:pt idx="1850">
                  <c:v>44586</c:v>
                </c:pt>
                <c:pt idx="1851">
                  <c:v>44587</c:v>
                </c:pt>
                <c:pt idx="1852">
                  <c:v>44588</c:v>
                </c:pt>
                <c:pt idx="1853">
                  <c:v>44589</c:v>
                </c:pt>
                <c:pt idx="1854">
                  <c:v>44590</c:v>
                </c:pt>
                <c:pt idx="1855">
                  <c:v>44591</c:v>
                </c:pt>
                <c:pt idx="1856">
                  <c:v>44592</c:v>
                </c:pt>
                <c:pt idx="1857">
                  <c:v>44593</c:v>
                </c:pt>
                <c:pt idx="1858">
                  <c:v>44594</c:v>
                </c:pt>
                <c:pt idx="1859">
                  <c:v>44595</c:v>
                </c:pt>
                <c:pt idx="1860">
                  <c:v>44596</c:v>
                </c:pt>
                <c:pt idx="1861">
                  <c:v>44597</c:v>
                </c:pt>
                <c:pt idx="1862">
                  <c:v>44598</c:v>
                </c:pt>
                <c:pt idx="1863">
                  <c:v>44599</c:v>
                </c:pt>
                <c:pt idx="1864">
                  <c:v>44600</c:v>
                </c:pt>
                <c:pt idx="1865">
                  <c:v>44601</c:v>
                </c:pt>
                <c:pt idx="1866">
                  <c:v>44602</c:v>
                </c:pt>
                <c:pt idx="1867">
                  <c:v>44603</c:v>
                </c:pt>
                <c:pt idx="1868">
                  <c:v>44604</c:v>
                </c:pt>
                <c:pt idx="1869">
                  <c:v>44605</c:v>
                </c:pt>
                <c:pt idx="1870">
                  <c:v>44606</c:v>
                </c:pt>
                <c:pt idx="1871">
                  <c:v>44607</c:v>
                </c:pt>
                <c:pt idx="1872">
                  <c:v>44608</c:v>
                </c:pt>
                <c:pt idx="1873">
                  <c:v>44609</c:v>
                </c:pt>
                <c:pt idx="1874">
                  <c:v>44610</c:v>
                </c:pt>
                <c:pt idx="1875">
                  <c:v>44611</c:v>
                </c:pt>
                <c:pt idx="1876">
                  <c:v>44612</c:v>
                </c:pt>
                <c:pt idx="1877">
                  <c:v>44613</c:v>
                </c:pt>
                <c:pt idx="1878">
                  <c:v>44614</c:v>
                </c:pt>
                <c:pt idx="1879">
                  <c:v>44615</c:v>
                </c:pt>
                <c:pt idx="1880">
                  <c:v>44616</c:v>
                </c:pt>
                <c:pt idx="1881">
                  <c:v>44617</c:v>
                </c:pt>
                <c:pt idx="1882">
                  <c:v>44618</c:v>
                </c:pt>
                <c:pt idx="1883">
                  <c:v>44619</c:v>
                </c:pt>
                <c:pt idx="1884">
                  <c:v>44620</c:v>
                </c:pt>
                <c:pt idx="1885">
                  <c:v>44621</c:v>
                </c:pt>
                <c:pt idx="1886">
                  <c:v>44622</c:v>
                </c:pt>
                <c:pt idx="1887">
                  <c:v>44623</c:v>
                </c:pt>
                <c:pt idx="1888">
                  <c:v>44624</c:v>
                </c:pt>
                <c:pt idx="1889">
                  <c:v>44625</c:v>
                </c:pt>
                <c:pt idx="1890">
                  <c:v>44626</c:v>
                </c:pt>
                <c:pt idx="1891">
                  <c:v>44627</c:v>
                </c:pt>
                <c:pt idx="1892">
                  <c:v>44628</c:v>
                </c:pt>
                <c:pt idx="1893">
                  <c:v>44629</c:v>
                </c:pt>
                <c:pt idx="1894">
                  <c:v>44630</c:v>
                </c:pt>
                <c:pt idx="1895">
                  <c:v>44631</c:v>
                </c:pt>
                <c:pt idx="1896">
                  <c:v>44632</c:v>
                </c:pt>
                <c:pt idx="1897">
                  <c:v>44633</c:v>
                </c:pt>
                <c:pt idx="1898">
                  <c:v>44634</c:v>
                </c:pt>
                <c:pt idx="1899">
                  <c:v>44635</c:v>
                </c:pt>
                <c:pt idx="1900">
                  <c:v>44636</c:v>
                </c:pt>
                <c:pt idx="1901">
                  <c:v>44637</c:v>
                </c:pt>
                <c:pt idx="1902">
                  <c:v>44638</c:v>
                </c:pt>
                <c:pt idx="1903">
                  <c:v>44639</c:v>
                </c:pt>
                <c:pt idx="1904">
                  <c:v>44640</c:v>
                </c:pt>
                <c:pt idx="1905">
                  <c:v>44641</c:v>
                </c:pt>
                <c:pt idx="1906">
                  <c:v>44642</c:v>
                </c:pt>
                <c:pt idx="1907">
                  <c:v>44643</c:v>
                </c:pt>
                <c:pt idx="1908">
                  <c:v>44644</c:v>
                </c:pt>
                <c:pt idx="1909">
                  <c:v>44645</c:v>
                </c:pt>
                <c:pt idx="1910">
                  <c:v>44646</c:v>
                </c:pt>
                <c:pt idx="1911">
                  <c:v>44647</c:v>
                </c:pt>
                <c:pt idx="1912">
                  <c:v>44648</c:v>
                </c:pt>
                <c:pt idx="1913">
                  <c:v>44649</c:v>
                </c:pt>
                <c:pt idx="1914">
                  <c:v>44650</c:v>
                </c:pt>
                <c:pt idx="1915">
                  <c:v>44651</c:v>
                </c:pt>
                <c:pt idx="1916">
                  <c:v>44652</c:v>
                </c:pt>
                <c:pt idx="1917">
                  <c:v>44653</c:v>
                </c:pt>
                <c:pt idx="1918">
                  <c:v>44654</c:v>
                </c:pt>
                <c:pt idx="1919">
                  <c:v>44655</c:v>
                </c:pt>
                <c:pt idx="1920">
                  <c:v>44656</c:v>
                </c:pt>
                <c:pt idx="1921">
                  <c:v>44657</c:v>
                </c:pt>
                <c:pt idx="1922">
                  <c:v>44658</c:v>
                </c:pt>
                <c:pt idx="1923">
                  <c:v>44659</c:v>
                </c:pt>
                <c:pt idx="1924">
                  <c:v>44660</c:v>
                </c:pt>
                <c:pt idx="1925">
                  <c:v>44661</c:v>
                </c:pt>
                <c:pt idx="1926">
                  <c:v>44662</c:v>
                </c:pt>
                <c:pt idx="1927">
                  <c:v>44663</c:v>
                </c:pt>
                <c:pt idx="1928">
                  <c:v>44664</c:v>
                </c:pt>
                <c:pt idx="1929">
                  <c:v>44665</c:v>
                </c:pt>
                <c:pt idx="1930">
                  <c:v>44666</c:v>
                </c:pt>
                <c:pt idx="1931">
                  <c:v>44667</c:v>
                </c:pt>
                <c:pt idx="1932">
                  <c:v>44668</c:v>
                </c:pt>
                <c:pt idx="1933">
                  <c:v>44669</c:v>
                </c:pt>
                <c:pt idx="1934">
                  <c:v>44670</c:v>
                </c:pt>
                <c:pt idx="1935">
                  <c:v>44671</c:v>
                </c:pt>
                <c:pt idx="1936">
                  <c:v>44672</c:v>
                </c:pt>
                <c:pt idx="1937">
                  <c:v>44673</c:v>
                </c:pt>
                <c:pt idx="1938">
                  <c:v>44674</c:v>
                </c:pt>
                <c:pt idx="1939">
                  <c:v>44675</c:v>
                </c:pt>
                <c:pt idx="1940">
                  <c:v>44676</c:v>
                </c:pt>
                <c:pt idx="1941">
                  <c:v>44677</c:v>
                </c:pt>
                <c:pt idx="1942">
                  <c:v>44678</c:v>
                </c:pt>
                <c:pt idx="1943">
                  <c:v>44679</c:v>
                </c:pt>
                <c:pt idx="1944">
                  <c:v>44680</c:v>
                </c:pt>
                <c:pt idx="1945">
                  <c:v>44681</c:v>
                </c:pt>
                <c:pt idx="1946">
                  <c:v>44682</c:v>
                </c:pt>
                <c:pt idx="1947">
                  <c:v>44683</c:v>
                </c:pt>
                <c:pt idx="1948">
                  <c:v>44684</c:v>
                </c:pt>
                <c:pt idx="1949">
                  <c:v>44685</c:v>
                </c:pt>
                <c:pt idx="1950">
                  <c:v>44686</c:v>
                </c:pt>
                <c:pt idx="1951">
                  <c:v>44687</c:v>
                </c:pt>
                <c:pt idx="1952">
                  <c:v>44688</c:v>
                </c:pt>
                <c:pt idx="1953">
                  <c:v>44689</c:v>
                </c:pt>
                <c:pt idx="1954">
                  <c:v>44690</c:v>
                </c:pt>
                <c:pt idx="1955">
                  <c:v>44691</c:v>
                </c:pt>
                <c:pt idx="1956">
                  <c:v>44692</c:v>
                </c:pt>
                <c:pt idx="1957">
                  <c:v>44693</c:v>
                </c:pt>
                <c:pt idx="1958">
                  <c:v>44694</c:v>
                </c:pt>
                <c:pt idx="1959">
                  <c:v>44695</c:v>
                </c:pt>
                <c:pt idx="1960">
                  <c:v>44696</c:v>
                </c:pt>
                <c:pt idx="1961">
                  <c:v>44697</c:v>
                </c:pt>
                <c:pt idx="1962">
                  <c:v>44698</c:v>
                </c:pt>
                <c:pt idx="1963">
                  <c:v>44699</c:v>
                </c:pt>
                <c:pt idx="1964">
                  <c:v>44700</c:v>
                </c:pt>
                <c:pt idx="1965">
                  <c:v>44701</c:v>
                </c:pt>
                <c:pt idx="1966">
                  <c:v>44702</c:v>
                </c:pt>
                <c:pt idx="1967">
                  <c:v>44703</c:v>
                </c:pt>
                <c:pt idx="1968">
                  <c:v>44704</c:v>
                </c:pt>
                <c:pt idx="1969">
                  <c:v>44705</c:v>
                </c:pt>
                <c:pt idx="1970">
                  <c:v>44706</c:v>
                </c:pt>
                <c:pt idx="1971">
                  <c:v>44707</c:v>
                </c:pt>
                <c:pt idx="1972">
                  <c:v>44708</c:v>
                </c:pt>
                <c:pt idx="1973">
                  <c:v>44709</c:v>
                </c:pt>
                <c:pt idx="1974">
                  <c:v>44710</c:v>
                </c:pt>
                <c:pt idx="1975">
                  <c:v>44711</c:v>
                </c:pt>
                <c:pt idx="1976">
                  <c:v>44712</c:v>
                </c:pt>
                <c:pt idx="1977">
                  <c:v>44713</c:v>
                </c:pt>
                <c:pt idx="1978">
                  <c:v>44714</c:v>
                </c:pt>
                <c:pt idx="1979">
                  <c:v>44715</c:v>
                </c:pt>
                <c:pt idx="1980">
                  <c:v>44716</c:v>
                </c:pt>
                <c:pt idx="1981">
                  <c:v>44717</c:v>
                </c:pt>
                <c:pt idx="1982">
                  <c:v>44718</c:v>
                </c:pt>
                <c:pt idx="1983">
                  <c:v>44719</c:v>
                </c:pt>
                <c:pt idx="1984">
                  <c:v>44720</c:v>
                </c:pt>
                <c:pt idx="1985">
                  <c:v>44721</c:v>
                </c:pt>
                <c:pt idx="1986">
                  <c:v>44722</c:v>
                </c:pt>
                <c:pt idx="1987">
                  <c:v>44723</c:v>
                </c:pt>
                <c:pt idx="1988">
                  <c:v>44724</c:v>
                </c:pt>
                <c:pt idx="1989">
                  <c:v>44725</c:v>
                </c:pt>
                <c:pt idx="1990">
                  <c:v>44726</c:v>
                </c:pt>
                <c:pt idx="1991">
                  <c:v>44727</c:v>
                </c:pt>
                <c:pt idx="1992">
                  <c:v>44728</c:v>
                </c:pt>
                <c:pt idx="1993">
                  <c:v>44729</c:v>
                </c:pt>
                <c:pt idx="1994">
                  <c:v>44730</c:v>
                </c:pt>
                <c:pt idx="1995">
                  <c:v>44731</c:v>
                </c:pt>
                <c:pt idx="1996">
                  <c:v>44732</c:v>
                </c:pt>
                <c:pt idx="1997">
                  <c:v>44733</c:v>
                </c:pt>
                <c:pt idx="1998">
                  <c:v>44734</c:v>
                </c:pt>
                <c:pt idx="1999">
                  <c:v>44735</c:v>
                </c:pt>
                <c:pt idx="2000">
                  <c:v>44736</c:v>
                </c:pt>
                <c:pt idx="2001">
                  <c:v>44737</c:v>
                </c:pt>
                <c:pt idx="2002">
                  <c:v>44738</c:v>
                </c:pt>
                <c:pt idx="2003">
                  <c:v>44739</c:v>
                </c:pt>
                <c:pt idx="2004">
                  <c:v>44740</c:v>
                </c:pt>
                <c:pt idx="2005">
                  <c:v>44741</c:v>
                </c:pt>
                <c:pt idx="2006">
                  <c:v>44742</c:v>
                </c:pt>
                <c:pt idx="2007">
                  <c:v>44743</c:v>
                </c:pt>
                <c:pt idx="2008">
                  <c:v>44744</c:v>
                </c:pt>
                <c:pt idx="2009">
                  <c:v>44745</c:v>
                </c:pt>
                <c:pt idx="2010">
                  <c:v>44746</c:v>
                </c:pt>
                <c:pt idx="2011">
                  <c:v>44747</c:v>
                </c:pt>
                <c:pt idx="2012">
                  <c:v>44748</c:v>
                </c:pt>
                <c:pt idx="2013">
                  <c:v>44749</c:v>
                </c:pt>
                <c:pt idx="2014">
                  <c:v>44750</c:v>
                </c:pt>
                <c:pt idx="2015">
                  <c:v>44751</c:v>
                </c:pt>
                <c:pt idx="2016">
                  <c:v>44752</c:v>
                </c:pt>
                <c:pt idx="2017">
                  <c:v>44753</c:v>
                </c:pt>
                <c:pt idx="2018">
                  <c:v>44754</c:v>
                </c:pt>
                <c:pt idx="2019">
                  <c:v>44755</c:v>
                </c:pt>
                <c:pt idx="2020">
                  <c:v>44756</c:v>
                </c:pt>
                <c:pt idx="2021">
                  <c:v>44757</c:v>
                </c:pt>
                <c:pt idx="2022">
                  <c:v>44758</c:v>
                </c:pt>
                <c:pt idx="2023">
                  <c:v>44759</c:v>
                </c:pt>
                <c:pt idx="2024">
                  <c:v>44760</c:v>
                </c:pt>
                <c:pt idx="2025">
                  <c:v>44761</c:v>
                </c:pt>
                <c:pt idx="2026">
                  <c:v>44762</c:v>
                </c:pt>
                <c:pt idx="2027">
                  <c:v>44763</c:v>
                </c:pt>
                <c:pt idx="2028">
                  <c:v>44764</c:v>
                </c:pt>
                <c:pt idx="2029">
                  <c:v>44765</c:v>
                </c:pt>
                <c:pt idx="2030">
                  <c:v>44766</c:v>
                </c:pt>
                <c:pt idx="2031">
                  <c:v>44767</c:v>
                </c:pt>
                <c:pt idx="2032">
                  <c:v>44768</c:v>
                </c:pt>
                <c:pt idx="2033">
                  <c:v>44769</c:v>
                </c:pt>
                <c:pt idx="2034">
                  <c:v>44770</c:v>
                </c:pt>
                <c:pt idx="2035">
                  <c:v>44771</c:v>
                </c:pt>
                <c:pt idx="2036">
                  <c:v>44772</c:v>
                </c:pt>
                <c:pt idx="2037">
                  <c:v>44773</c:v>
                </c:pt>
                <c:pt idx="2038">
                  <c:v>44774</c:v>
                </c:pt>
                <c:pt idx="2039">
                  <c:v>44775</c:v>
                </c:pt>
                <c:pt idx="2040">
                  <c:v>44776</c:v>
                </c:pt>
                <c:pt idx="2041">
                  <c:v>44777</c:v>
                </c:pt>
                <c:pt idx="2042">
                  <c:v>44778</c:v>
                </c:pt>
                <c:pt idx="2043">
                  <c:v>44779</c:v>
                </c:pt>
                <c:pt idx="2044">
                  <c:v>44780</c:v>
                </c:pt>
                <c:pt idx="2045">
                  <c:v>44781</c:v>
                </c:pt>
                <c:pt idx="2046">
                  <c:v>44782</c:v>
                </c:pt>
                <c:pt idx="2047">
                  <c:v>44783</c:v>
                </c:pt>
                <c:pt idx="2048">
                  <c:v>44784</c:v>
                </c:pt>
                <c:pt idx="2049">
                  <c:v>44785</c:v>
                </c:pt>
                <c:pt idx="2050">
                  <c:v>44786</c:v>
                </c:pt>
                <c:pt idx="2051">
                  <c:v>44787</c:v>
                </c:pt>
                <c:pt idx="2052">
                  <c:v>44788</c:v>
                </c:pt>
                <c:pt idx="2053">
                  <c:v>44789</c:v>
                </c:pt>
                <c:pt idx="2054">
                  <c:v>44790</c:v>
                </c:pt>
                <c:pt idx="2055">
                  <c:v>44791</c:v>
                </c:pt>
                <c:pt idx="2056">
                  <c:v>44792</c:v>
                </c:pt>
                <c:pt idx="2057">
                  <c:v>44793</c:v>
                </c:pt>
                <c:pt idx="2058">
                  <c:v>44794</c:v>
                </c:pt>
                <c:pt idx="2059">
                  <c:v>44795</c:v>
                </c:pt>
                <c:pt idx="2060">
                  <c:v>44796</c:v>
                </c:pt>
                <c:pt idx="2061">
                  <c:v>44797</c:v>
                </c:pt>
                <c:pt idx="2062">
                  <c:v>44798</c:v>
                </c:pt>
                <c:pt idx="2063">
                  <c:v>44799</c:v>
                </c:pt>
                <c:pt idx="2064">
                  <c:v>44800</c:v>
                </c:pt>
                <c:pt idx="2065">
                  <c:v>44801</c:v>
                </c:pt>
                <c:pt idx="2066">
                  <c:v>44802</c:v>
                </c:pt>
                <c:pt idx="2067">
                  <c:v>44803</c:v>
                </c:pt>
                <c:pt idx="2068">
                  <c:v>44804</c:v>
                </c:pt>
              </c:numCache>
            </c:numRef>
          </c:cat>
          <c:val>
            <c:numRef>
              <c:f>Hárok1!$N$5:$N$2073</c:f>
              <c:numCache>
                <c:formatCode>_(* #,##0_);_(* \(#,##0\);_(* "-"??_);_(@_)</c:formatCode>
                <c:ptCount val="2069"/>
                <c:pt idx="0">
                  <c:v>585.05669139647648</c:v>
                </c:pt>
                <c:pt idx="1">
                  <c:v>586.10154997842881</c:v>
                </c:pt>
                <c:pt idx="2">
                  <c:v>595.19265264794888</c:v>
                </c:pt>
                <c:pt idx="3">
                  <c:v>604.69658565249154</c:v>
                </c:pt>
                <c:pt idx="4">
                  <c:v>610.23608879577466</c:v>
                </c:pt>
                <c:pt idx="5">
                  <c:v>623.1888654738575</c:v>
                </c:pt>
                <c:pt idx="6">
                  <c:v>633.88164739260856</c:v>
                </c:pt>
                <c:pt idx="7">
                  <c:v>641.0077479402903</c:v>
                </c:pt>
                <c:pt idx="8">
                  <c:v>647.61247107391796</c:v>
                </c:pt>
                <c:pt idx="9">
                  <c:v>645.41693777495868</c:v>
                </c:pt>
                <c:pt idx="10">
                  <c:v>644.1654429192115</c:v>
                </c:pt>
                <c:pt idx="11">
                  <c:v>639.66485075757726</c:v>
                </c:pt>
                <c:pt idx="12">
                  <c:v>635.6083328106813</c:v>
                </c:pt>
                <c:pt idx="13">
                  <c:v>634.8096719310372</c:v>
                </c:pt>
                <c:pt idx="14">
                  <c:v>629.06316867946134</c:v>
                </c:pt>
                <c:pt idx="15">
                  <c:v>633.6287399860164</c:v>
                </c:pt>
                <c:pt idx="16">
                  <c:v>641.84782922549414</c:v>
                </c:pt>
                <c:pt idx="17">
                  <c:v>645.46500748192557</c:v>
                </c:pt>
                <c:pt idx="18">
                  <c:v>650.62579847176301</c:v>
                </c:pt>
                <c:pt idx="19">
                  <c:v>646.42344901085085</c:v>
                </c:pt>
                <c:pt idx="20">
                  <c:v>639.38867969632292</c:v>
                </c:pt>
                <c:pt idx="21">
                  <c:v>637.16461131995902</c:v>
                </c:pt>
                <c:pt idx="22">
                  <c:v>643.43395098911412</c:v>
                </c:pt>
                <c:pt idx="23">
                  <c:v>633.9233809600637</c:v>
                </c:pt>
                <c:pt idx="24">
                  <c:v>649.73007342554638</c:v>
                </c:pt>
                <c:pt idx="25">
                  <c:v>650.31172866977772</c:v>
                </c:pt>
                <c:pt idx="26">
                  <c:v>653.05926896025369</c:v>
                </c:pt>
                <c:pt idx="27">
                  <c:v>644.15344584555999</c:v>
                </c:pt>
                <c:pt idx="28">
                  <c:v>636.0895143096061</c:v>
                </c:pt>
                <c:pt idx="29">
                  <c:v>640.4346806227494</c:v>
                </c:pt>
                <c:pt idx="30">
                  <c:v>648.80342940113792</c:v>
                </c:pt>
                <c:pt idx="31">
                  <c:v>608.37244075361752</c:v>
                </c:pt>
                <c:pt idx="32">
                  <c:v>603.87845645047071</c:v>
                </c:pt>
                <c:pt idx="33">
                  <c:v>603.08244431330354</c:v>
                </c:pt>
                <c:pt idx="34">
                  <c:v>593.33928572247805</c:v>
                </c:pt>
                <c:pt idx="35">
                  <c:v>591.38150638179195</c:v>
                </c:pt>
                <c:pt idx="36">
                  <c:v>595.77506352855175</c:v>
                </c:pt>
                <c:pt idx="37">
                  <c:v>600.74201200183415</c:v>
                </c:pt>
                <c:pt idx="38">
                  <c:v>608.11443520972966</c:v>
                </c:pt>
                <c:pt idx="39">
                  <c:v>606.04810244161422</c:v>
                </c:pt>
                <c:pt idx="40">
                  <c:v>611.51190177732587</c:v>
                </c:pt>
                <c:pt idx="41">
                  <c:v>602.70664696843107</c:v>
                </c:pt>
                <c:pt idx="42">
                  <c:v>579.95211824606156</c:v>
                </c:pt>
                <c:pt idx="43">
                  <c:v>588.86986757569457</c:v>
                </c:pt>
                <c:pt idx="44">
                  <c:v>594.09657566571866</c:v>
                </c:pt>
                <c:pt idx="45">
                  <c:v>595.64273142311799</c:v>
                </c:pt>
                <c:pt idx="46">
                  <c:v>594.47318577110514</c:v>
                </c:pt>
                <c:pt idx="47">
                  <c:v>600.33769455154743</c:v>
                </c:pt>
                <c:pt idx="48">
                  <c:v>593.12863576502673</c:v>
                </c:pt>
                <c:pt idx="49">
                  <c:v>591.63190626693188</c:v>
                </c:pt>
                <c:pt idx="50">
                  <c:v>597.55899871781241</c:v>
                </c:pt>
                <c:pt idx="51">
                  <c:v>583.5164721801608</c:v>
                </c:pt>
                <c:pt idx="52">
                  <c:v>567.1082799529222</c:v>
                </c:pt>
                <c:pt idx="53">
                  <c:v>557.00175905173126</c:v>
                </c:pt>
                <c:pt idx="54">
                  <c:v>548.44196833297508</c:v>
                </c:pt>
                <c:pt idx="55">
                  <c:v>427.36672717420117</c:v>
                </c:pt>
                <c:pt idx="56">
                  <c:v>424.46236641801073</c:v>
                </c:pt>
                <c:pt idx="57">
                  <c:v>540.34390493423291</c:v>
                </c:pt>
                <c:pt idx="58">
                  <c:v>543.71980398447101</c:v>
                </c:pt>
                <c:pt idx="59">
                  <c:v>530.54526652310756</c:v>
                </c:pt>
                <c:pt idx="60">
                  <c:v>528.69986022843682</c:v>
                </c:pt>
                <c:pt idx="61">
                  <c:v>525.15308343612264</c:v>
                </c:pt>
                <c:pt idx="62">
                  <c:v>517.07199600722902</c:v>
                </c:pt>
                <c:pt idx="63">
                  <c:v>520.16759217115214</c:v>
                </c:pt>
                <c:pt idx="64">
                  <c:v>524.91375209188186</c:v>
                </c:pt>
                <c:pt idx="65">
                  <c:v>517.53297602198484</c:v>
                </c:pt>
                <c:pt idx="66">
                  <c:v>526.88786993181259</c:v>
                </c:pt>
                <c:pt idx="67">
                  <c:v>521.70618293441305</c:v>
                </c:pt>
                <c:pt idx="68">
                  <c:v>518.60195067799827</c:v>
                </c:pt>
                <c:pt idx="69">
                  <c:v>512.31511508938206</c:v>
                </c:pt>
                <c:pt idx="70">
                  <c:v>516.02076880284369</c:v>
                </c:pt>
                <c:pt idx="71">
                  <c:v>521.97792117557196</c:v>
                </c:pt>
                <c:pt idx="72">
                  <c:v>521.43544045342026</c:v>
                </c:pt>
                <c:pt idx="73">
                  <c:v>521.29218253722343</c:v>
                </c:pt>
                <c:pt idx="74">
                  <c:v>520.94180179683667</c:v>
                </c:pt>
                <c:pt idx="75">
                  <c:v>517.4332457969316</c:v>
                </c:pt>
                <c:pt idx="76">
                  <c:v>526.4293854229096</c:v>
                </c:pt>
                <c:pt idx="77">
                  <c:v>526.14452056172684</c:v>
                </c:pt>
                <c:pt idx="78">
                  <c:v>523.14177694331113</c:v>
                </c:pt>
                <c:pt idx="79">
                  <c:v>521.10747186599031</c:v>
                </c:pt>
                <c:pt idx="80">
                  <c:v>518.60479167566052</c:v>
                </c:pt>
                <c:pt idx="81">
                  <c:v>523.23439663504735</c:v>
                </c:pt>
                <c:pt idx="82">
                  <c:v>521.54010119088662</c:v>
                </c:pt>
                <c:pt idx="83">
                  <c:v>505.87645693067941</c:v>
                </c:pt>
                <c:pt idx="84">
                  <c:v>513.41291999832526</c:v>
                </c:pt>
                <c:pt idx="85">
                  <c:v>519.00463023499026</c:v>
                </c:pt>
                <c:pt idx="86">
                  <c:v>519.57712526330715</c:v>
                </c:pt>
                <c:pt idx="87">
                  <c:v>515.83250458645682</c:v>
                </c:pt>
                <c:pt idx="88">
                  <c:v>519.04443142984314</c:v>
                </c:pt>
                <c:pt idx="89">
                  <c:v>524.66372710316523</c:v>
                </c:pt>
                <c:pt idx="90">
                  <c:v>491.719802450126</c:v>
                </c:pt>
                <c:pt idx="91">
                  <c:v>499.94864176051811</c:v>
                </c:pt>
                <c:pt idx="92">
                  <c:v>510.07643653466141</c:v>
                </c:pt>
                <c:pt idx="93">
                  <c:v>519.98888921005027</c:v>
                </c:pt>
                <c:pt idx="94">
                  <c:v>540.69551326074236</c:v>
                </c:pt>
                <c:pt idx="95">
                  <c:v>543.17172750808004</c:v>
                </c:pt>
                <c:pt idx="96">
                  <c:v>542.2644386533558</c:v>
                </c:pt>
                <c:pt idx="97">
                  <c:v>534.096736856186</c:v>
                </c:pt>
                <c:pt idx="98">
                  <c:v>528.70041107504619</c:v>
                </c:pt>
                <c:pt idx="99">
                  <c:v>530.54113640876244</c:v>
                </c:pt>
                <c:pt idx="100">
                  <c:v>533.09563179654106</c:v>
                </c:pt>
                <c:pt idx="101">
                  <c:v>530.40943039376634</c:v>
                </c:pt>
                <c:pt idx="102">
                  <c:v>534.2529802590642</c:v>
                </c:pt>
                <c:pt idx="103">
                  <c:v>528.83725145683729</c:v>
                </c:pt>
                <c:pt idx="104">
                  <c:v>530.31538661626519</c:v>
                </c:pt>
                <c:pt idx="105">
                  <c:v>525.82360406662167</c:v>
                </c:pt>
                <c:pt idx="106">
                  <c:v>527.21367048183959</c:v>
                </c:pt>
                <c:pt idx="107">
                  <c:v>543.32434425669999</c:v>
                </c:pt>
                <c:pt idx="108">
                  <c:v>544.2583013895561</c:v>
                </c:pt>
                <c:pt idx="109">
                  <c:v>547.34756889280141</c:v>
                </c:pt>
                <c:pt idx="110">
                  <c:v>551.01370781802075</c:v>
                </c:pt>
                <c:pt idx="111">
                  <c:v>550.9200409207956</c:v>
                </c:pt>
                <c:pt idx="112">
                  <c:v>552.94045660444385</c:v>
                </c:pt>
                <c:pt idx="113">
                  <c:v>549.00561815655078</c:v>
                </c:pt>
                <c:pt idx="114">
                  <c:v>546.62074597198648</c:v>
                </c:pt>
                <c:pt idx="115">
                  <c:v>543.88606274631707</c:v>
                </c:pt>
                <c:pt idx="116">
                  <c:v>544.96008602261156</c:v>
                </c:pt>
                <c:pt idx="117">
                  <c:v>544.62084711143541</c:v>
                </c:pt>
                <c:pt idx="118">
                  <c:v>541.6604560350338</c:v>
                </c:pt>
                <c:pt idx="119">
                  <c:v>534.25534555656179</c:v>
                </c:pt>
                <c:pt idx="120">
                  <c:v>530.82897645519631</c:v>
                </c:pt>
                <c:pt idx="121">
                  <c:v>525.95239615440801</c:v>
                </c:pt>
                <c:pt idx="122">
                  <c:v>531.97680861547519</c:v>
                </c:pt>
                <c:pt idx="123">
                  <c:v>536.74929224301525</c:v>
                </c:pt>
                <c:pt idx="124">
                  <c:v>533.00738991395349</c:v>
                </c:pt>
                <c:pt idx="125">
                  <c:v>534.42110351223357</c:v>
                </c:pt>
                <c:pt idx="126">
                  <c:v>531.80143771994335</c:v>
                </c:pt>
                <c:pt idx="127">
                  <c:v>531.80921424362168</c:v>
                </c:pt>
                <c:pt idx="128">
                  <c:v>536.59207022480246</c:v>
                </c:pt>
                <c:pt idx="129">
                  <c:v>533.48427711417492</c:v>
                </c:pt>
                <c:pt idx="130">
                  <c:v>534.15809148440735</c:v>
                </c:pt>
                <c:pt idx="131">
                  <c:v>533.55604304088797</c:v>
                </c:pt>
                <c:pt idx="132">
                  <c:v>525.50098665322514</c:v>
                </c:pt>
                <c:pt idx="133">
                  <c:v>520.76379416748136</c:v>
                </c:pt>
                <c:pt idx="134">
                  <c:v>527.95047187022271</c:v>
                </c:pt>
                <c:pt idx="135">
                  <c:v>523.74672202078466</c:v>
                </c:pt>
                <c:pt idx="136">
                  <c:v>530.74136471389147</c:v>
                </c:pt>
                <c:pt idx="137">
                  <c:v>530.43421346985281</c:v>
                </c:pt>
                <c:pt idx="138">
                  <c:v>524.12397656418761</c:v>
                </c:pt>
                <c:pt idx="139">
                  <c:v>508.4531200090554</c:v>
                </c:pt>
                <c:pt idx="140">
                  <c:v>508.29512862007232</c:v>
                </c:pt>
                <c:pt idx="141">
                  <c:v>520.34595644969079</c:v>
                </c:pt>
                <c:pt idx="142">
                  <c:v>525.62260694022189</c:v>
                </c:pt>
                <c:pt idx="143">
                  <c:v>526.61719181899684</c:v>
                </c:pt>
                <c:pt idx="144">
                  <c:v>534.27482706121611</c:v>
                </c:pt>
                <c:pt idx="145">
                  <c:v>536.48680305621656</c:v>
                </c:pt>
                <c:pt idx="146">
                  <c:v>530.79506502360857</c:v>
                </c:pt>
                <c:pt idx="147">
                  <c:v>524.73272326719882</c:v>
                </c:pt>
                <c:pt idx="148">
                  <c:v>529.56054866512193</c:v>
                </c:pt>
                <c:pt idx="149">
                  <c:v>532.42282386203999</c:v>
                </c:pt>
                <c:pt idx="150">
                  <c:v>528.89848261495524</c:v>
                </c:pt>
                <c:pt idx="151">
                  <c:v>542.17294343902267</c:v>
                </c:pt>
                <c:pt idx="152">
                  <c:v>548.80386110896882</c:v>
                </c:pt>
                <c:pt idx="153">
                  <c:v>546.42869527301184</c:v>
                </c:pt>
                <c:pt idx="154">
                  <c:v>544.8028471231404</c:v>
                </c:pt>
                <c:pt idx="155">
                  <c:v>545.94471827473205</c:v>
                </c:pt>
                <c:pt idx="156">
                  <c:v>536.3663254237274</c:v>
                </c:pt>
                <c:pt idx="157">
                  <c:v>528.79646504271875</c:v>
                </c:pt>
                <c:pt idx="158">
                  <c:v>537.82540478271846</c:v>
                </c:pt>
                <c:pt idx="159">
                  <c:v>550.73212923891435</c:v>
                </c:pt>
                <c:pt idx="160">
                  <c:v>506.387664533254</c:v>
                </c:pt>
                <c:pt idx="161">
                  <c:v>528.06469579561156</c:v>
                </c:pt>
                <c:pt idx="162">
                  <c:v>543.02182275204166</c:v>
                </c:pt>
                <c:pt idx="163">
                  <c:v>542.49995129583294</c:v>
                </c:pt>
                <c:pt idx="164">
                  <c:v>541.95179373693236</c:v>
                </c:pt>
                <c:pt idx="165">
                  <c:v>543.37602105450094</c:v>
                </c:pt>
                <c:pt idx="166">
                  <c:v>513.6430308679162</c:v>
                </c:pt>
                <c:pt idx="167">
                  <c:v>510.57026776589601</c:v>
                </c:pt>
                <c:pt idx="168">
                  <c:v>507.4610361277978</c:v>
                </c:pt>
                <c:pt idx="169">
                  <c:v>496.67708164427012</c:v>
                </c:pt>
                <c:pt idx="170">
                  <c:v>498.57237954946993</c:v>
                </c:pt>
                <c:pt idx="171">
                  <c:v>488.2103552115575</c:v>
                </c:pt>
                <c:pt idx="172">
                  <c:v>488.51735563354981</c:v>
                </c:pt>
                <c:pt idx="173">
                  <c:v>503.53495900382842</c:v>
                </c:pt>
                <c:pt idx="174">
                  <c:v>519.87768288188101</c:v>
                </c:pt>
                <c:pt idx="175">
                  <c:v>519.06856125135619</c:v>
                </c:pt>
                <c:pt idx="176">
                  <c:v>530.05936440945095</c:v>
                </c:pt>
                <c:pt idx="177">
                  <c:v>512.79239824218837</c:v>
                </c:pt>
                <c:pt idx="178">
                  <c:v>509.27110477174949</c:v>
                </c:pt>
                <c:pt idx="179">
                  <c:v>513.00163866142782</c:v>
                </c:pt>
                <c:pt idx="180">
                  <c:v>507.74337196688452</c:v>
                </c:pt>
                <c:pt idx="181">
                  <c:v>525.32381571803671</c:v>
                </c:pt>
                <c:pt idx="182">
                  <c:v>529.69640722502402</c:v>
                </c:pt>
                <c:pt idx="183">
                  <c:v>544.65197894309131</c:v>
                </c:pt>
                <c:pt idx="184">
                  <c:v>543.72454663756059</c:v>
                </c:pt>
                <c:pt idx="185">
                  <c:v>551.47351344549679</c:v>
                </c:pt>
                <c:pt idx="186">
                  <c:v>547.32204406683138</c:v>
                </c:pt>
                <c:pt idx="187">
                  <c:v>548.62948775392567</c:v>
                </c:pt>
                <c:pt idx="188">
                  <c:v>539.74916481669197</c:v>
                </c:pt>
                <c:pt idx="189">
                  <c:v>525.07360087264385</c:v>
                </c:pt>
                <c:pt idx="190">
                  <c:v>514.40539546408684</c:v>
                </c:pt>
                <c:pt idx="191">
                  <c:v>478.16049822757691</c:v>
                </c:pt>
                <c:pt idx="192">
                  <c:v>482.30609582760104</c:v>
                </c:pt>
                <c:pt idx="193">
                  <c:v>482.51069370219943</c:v>
                </c:pt>
                <c:pt idx="194">
                  <c:v>481.04828702396293</c:v>
                </c:pt>
                <c:pt idx="195">
                  <c:v>480.13678256474873</c:v>
                </c:pt>
                <c:pt idx="196">
                  <c:v>486.30627606823435</c:v>
                </c:pt>
                <c:pt idx="197">
                  <c:v>510.20259643788279</c:v>
                </c:pt>
                <c:pt idx="198">
                  <c:v>523.91738972003213</c:v>
                </c:pt>
                <c:pt idx="199">
                  <c:v>533.06239212971934</c:v>
                </c:pt>
                <c:pt idx="200">
                  <c:v>528.96599466719238</c:v>
                </c:pt>
                <c:pt idx="201">
                  <c:v>539.21995259303048</c:v>
                </c:pt>
                <c:pt idx="202">
                  <c:v>555.98185111787427</c:v>
                </c:pt>
                <c:pt idx="203">
                  <c:v>556.59951404879189</c:v>
                </c:pt>
                <c:pt idx="204">
                  <c:v>553.6393661607791</c:v>
                </c:pt>
                <c:pt idx="205">
                  <c:v>557.32690439509111</c:v>
                </c:pt>
                <c:pt idx="206">
                  <c:v>551.02453272509172</c:v>
                </c:pt>
                <c:pt idx="207">
                  <c:v>562.87393569098447</c:v>
                </c:pt>
                <c:pt idx="208">
                  <c:v>564.34480926169545</c:v>
                </c:pt>
                <c:pt idx="209">
                  <c:v>556.75622888999305</c:v>
                </c:pt>
                <c:pt idx="210">
                  <c:v>555.98480848303598</c:v>
                </c:pt>
                <c:pt idx="211">
                  <c:v>556.27312931799361</c:v>
                </c:pt>
                <c:pt idx="212">
                  <c:v>540.86173184942697</c:v>
                </c:pt>
                <c:pt idx="213">
                  <c:v>555.23621805258699</c:v>
                </c:pt>
                <c:pt idx="214">
                  <c:v>560.46919663892697</c:v>
                </c:pt>
                <c:pt idx="215">
                  <c:v>571.41602276730202</c:v>
                </c:pt>
                <c:pt idx="216">
                  <c:v>578.06133802239071</c:v>
                </c:pt>
                <c:pt idx="217">
                  <c:v>583.15522896674497</c:v>
                </c:pt>
                <c:pt idx="218">
                  <c:v>583.94529768789891</c:v>
                </c:pt>
                <c:pt idx="219">
                  <c:v>515.18200060712104</c:v>
                </c:pt>
                <c:pt idx="220">
                  <c:v>510.54685782144139</c:v>
                </c:pt>
                <c:pt idx="221">
                  <c:v>567.43032808426426</c:v>
                </c:pt>
                <c:pt idx="222">
                  <c:v>588.1719380261635</c:v>
                </c:pt>
                <c:pt idx="223">
                  <c:v>586.47706819085226</c:v>
                </c:pt>
                <c:pt idx="224">
                  <c:v>581.81047286637238</c:v>
                </c:pt>
                <c:pt idx="225">
                  <c:v>582.12270877015533</c:v>
                </c:pt>
                <c:pt idx="226">
                  <c:v>575.38391230420052</c:v>
                </c:pt>
                <c:pt idx="227">
                  <c:v>592.14909713190332</c:v>
                </c:pt>
                <c:pt idx="228">
                  <c:v>598.28261448179205</c:v>
                </c:pt>
                <c:pt idx="229">
                  <c:v>595.69008877939166</c:v>
                </c:pt>
                <c:pt idx="230">
                  <c:v>593.27616768180667</c:v>
                </c:pt>
                <c:pt idx="231">
                  <c:v>589.18011770786666</c:v>
                </c:pt>
                <c:pt idx="232">
                  <c:v>563.68922434159856</c:v>
                </c:pt>
                <c:pt idx="233">
                  <c:v>563.81809330567739</c:v>
                </c:pt>
                <c:pt idx="234">
                  <c:v>572.0686877484452</c:v>
                </c:pt>
                <c:pt idx="235">
                  <c:v>564.40033826342938</c:v>
                </c:pt>
                <c:pt idx="236">
                  <c:v>576.26232958813557</c:v>
                </c:pt>
                <c:pt idx="237">
                  <c:v>568.55516624151358</c:v>
                </c:pt>
                <c:pt idx="238">
                  <c:v>565.11932871306055</c:v>
                </c:pt>
                <c:pt idx="239">
                  <c:v>570.90410712697076</c:v>
                </c:pt>
                <c:pt idx="240">
                  <c:v>554.52220353088433</c:v>
                </c:pt>
                <c:pt idx="241">
                  <c:v>562.58509650066162</c:v>
                </c:pt>
                <c:pt idx="242">
                  <c:v>580.32830074349988</c:v>
                </c:pt>
                <c:pt idx="243">
                  <c:v>574.88035521240897</c:v>
                </c:pt>
                <c:pt idx="244">
                  <c:v>575.87732998265381</c:v>
                </c:pt>
                <c:pt idx="245">
                  <c:v>577.50447026292932</c:v>
                </c:pt>
                <c:pt idx="246">
                  <c:v>582.9343077784572</c:v>
                </c:pt>
                <c:pt idx="247">
                  <c:v>588.93346200857991</c:v>
                </c:pt>
                <c:pt idx="248">
                  <c:v>595.59601974116811</c:v>
                </c:pt>
                <c:pt idx="249">
                  <c:v>607.9902174040019</c:v>
                </c:pt>
                <c:pt idx="250">
                  <c:v>609.34073451564677</c:v>
                </c:pt>
                <c:pt idx="251">
                  <c:v>604.25228161983</c:v>
                </c:pt>
                <c:pt idx="252">
                  <c:v>603.28668186303446</c:v>
                </c:pt>
                <c:pt idx="253">
                  <c:v>469.24068688746667</c:v>
                </c:pt>
                <c:pt idx="254">
                  <c:v>472.51315062792469</c:v>
                </c:pt>
                <c:pt idx="255">
                  <c:v>469.3164922309781</c:v>
                </c:pt>
                <c:pt idx="256">
                  <c:v>471.54093879586355</c:v>
                </c:pt>
                <c:pt idx="257">
                  <c:v>471.88491207830634</c:v>
                </c:pt>
                <c:pt idx="258">
                  <c:v>469.55949986456591</c:v>
                </c:pt>
                <c:pt idx="259">
                  <c:v>465.87085864319187</c:v>
                </c:pt>
                <c:pt idx="260">
                  <c:v>472.02590253632155</c:v>
                </c:pt>
                <c:pt idx="261">
                  <c:v>475.24091780349721</c:v>
                </c:pt>
                <c:pt idx="262">
                  <c:v>471.54911245998574</c:v>
                </c:pt>
                <c:pt idx="263">
                  <c:v>486.90710763746699</c:v>
                </c:pt>
                <c:pt idx="264">
                  <c:v>587.32559296485329</c:v>
                </c:pt>
                <c:pt idx="265">
                  <c:v>581.53137116776736</c:v>
                </c:pt>
                <c:pt idx="266">
                  <c:v>565.53583399856655</c:v>
                </c:pt>
                <c:pt idx="267">
                  <c:v>543.05443428424974</c:v>
                </c:pt>
                <c:pt idx="268">
                  <c:v>545.35639356898685</c:v>
                </c:pt>
                <c:pt idx="269">
                  <c:v>552.72451179178483</c:v>
                </c:pt>
                <c:pt idx="270">
                  <c:v>546.49583430283428</c:v>
                </c:pt>
                <c:pt idx="271">
                  <c:v>459.69999611798772</c:v>
                </c:pt>
                <c:pt idx="272">
                  <c:v>569.55027857645564</c:v>
                </c:pt>
                <c:pt idx="273">
                  <c:v>552.3531001358549</c:v>
                </c:pt>
                <c:pt idx="274">
                  <c:v>553.54266856846107</c:v>
                </c:pt>
                <c:pt idx="275">
                  <c:v>534.33460568498265</c:v>
                </c:pt>
                <c:pt idx="276">
                  <c:v>515.76698895976813</c:v>
                </c:pt>
                <c:pt idx="277">
                  <c:v>512.67387915096413</c:v>
                </c:pt>
                <c:pt idx="278">
                  <c:v>522.42709995315454</c:v>
                </c:pt>
                <c:pt idx="279">
                  <c:v>534.01597561007213</c:v>
                </c:pt>
                <c:pt idx="280">
                  <c:v>536.24245974309463</c:v>
                </c:pt>
                <c:pt idx="281">
                  <c:v>535.1496153156977</c:v>
                </c:pt>
                <c:pt idx="282">
                  <c:v>537.88655434306145</c:v>
                </c:pt>
                <c:pt idx="283">
                  <c:v>547.32738165252567</c:v>
                </c:pt>
                <c:pt idx="284">
                  <c:v>550.60782061421526</c:v>
                </c:pt>
                <c:pt idx="285">
                  <c:v>552.85771664553204</c:v>
                </c:pt>
                <c:pt idx="286">
                  <c:v>562.90850599980013</c:v>
                </c:pt>
                <c:pt idx="287">
                  <c:v>556.98418144166931</c:v>
                </c:pt>
                <c:pt idx="288">
                  <c:v>544.96861804397508</c:v>
                </c:pt>
                <c:pt idx="289">
                  <c:v>538.96780117532512</c:v>
                </c:pt>
                <c:pt idx="290">
                  <c:v>466.84349454941838</c:v>
                </c:pt>
                <c:pt idx="291">
                  <c:v>553.44102699216648</c:v>
                </c:pt>
                <c:pt idx="292">
                  <c:v>581.07947209719646</c:v>
                </c:pt>
                <c:pt idx="293">
                  <c:v>569.1261760752418</c:v>
                </c:pt>
                <c:pt idx="294">
                  <c:v>563.90273588809782</c:v>
                </c:pt>
                <c:pt idx="295">
                  <c:v>581.16282104878337</c:v>
                </c:pt>
                <c:pt idx="296">
                  <c:v>595.72527527520322</c:v>
                </c:pt>
                <c:pt idx="297">
                  <c:v>604.10746014412689</c:v>
                </c:pt>
                <c:pt idx="298">
                  <c:v>602.27105829958793</c:v>
                </c:pt>
                <c:pt idx="299">
                  <c:v>606.2973679576902</c:v>
                </c:pt>
                <c:pt idx="300">
                  <c:v>607.04078919570657</c:v>
                </c:pt>
                <c:pt idx="301">
                  <c:v>596.70504986253798</c:v>
                </c:pt>
                <c:pt idx="302">
                  <c:v>613.91028960826679</c:v>
                </c:pt>
                <c:pt idx="303">
                  <c:v>614.55712780778538</c:v>
                </c:pt>
                <c:pt idx="304">
                  <c:v>588.04468548202021</c:v>
                </c:pt>
                <c:pt idx="305">
                  <c:v>598.64989310778299</c:v>
                </c:pt>
                <c:pt idx="306">
                  <c:v>591.62842188394961</c:v>
                </c:pt>
                <c:pt idx="307">
                  <c:v>581.41722679394081</c:v>
                </c:pt>
                <c:pt idx="308">
                  <c:v>582.0349353349518</c:v>
                </c:pt>
                <c:pt idx="309">
                  <c:v>593.49630202732919</c:v>
                </c:pt>
                <c:pt idx="310">
                  <c:v>603.87174043952052</c:v>
                </c:pt>
                <c:pt idx="311">
                  <c:v>617.45864942613821</c:v>
                </c:pt>
                <c:pt idx="312">
                  <c:v>620.13174270598211</c:v>
                </c:pt>
                <c:pt idx="313">
                  <c:v>609.21956994383333</c:v>
                </c:pt>
                <c:pt idx="314">
                  <c:v>612.09077166799307</c:v>
                </c:pt>
                <c:pt idx="315">
                  <c:v>609.08619574607269</c:v>
                </c:pt>
                <c:pt idx="316">
                  <c:v>621.47090481212854</c:v>
                </c:pt>
                <c:pt idx="317">
                  <c:v>629.1272437780799</c:v>
                </c:pt>
                <c:pt idx="318">
                  <c:v>630.03980850497965</c:v>
                </c:pt>
                <c:pt idx="319">
                  <c:v>615.7043835511264</c:v>
                </c:pt>
                <c:pt idx="320">
                  <c:v>626.20850035354306</c:v>
                </c:pt>
                <c:pt idx="321">
                  <c:v>626.08634918845337</c:v>
                </c:pt>
                <c:pt idx="322">
                  <c:v>623.55299325478165</c:v>
                </c:pt>
                <c:pt idx="323">
                  <c:v>626.21648807419831</c:v>
                </c:pt>
                <c:pt idx="324">
                  <c:v>626.28291411342389</c:v>
                </c:pt>
                <c:pt idx="325">
                  <c:v>626.14763145129587</c:v>
                </c:pt>
                <c:pt idx="326">
                  <c:v>600.15938571418576</c:v>
                </c:pt>
                <c:pt idx="327">
                  <c:v>608.11858716796291</c:v>
                </c:pt>
                <c:pt idx="328">
                  <c:v>609.7641440813693</c:v>
                </c:pt>
                <c:pt idx="329">
                  <c:v>608.79230925918603</c:v>
                </c:pt>
                <c:pt idx="330">
                  <c:v>610.32615584475172</c:v>
                </c:pt>
                <c:pt idx="331">
                  <c:v>608.7106787720644</c:v>
                </c:pt>
                <c:pt idx="332">
                  <c:v>610.42127409200293</c:v>
                </c:pt>
                <c:pt idx="333">
                  <c:v>609.09452464185051</c:v>
                </c:pt>
                <c:pt idx="334">
                  <c:v>593.56018903450092</c:v>
                </c:pt>
                <c:pt idx="335">
                  <c:v>599.00493960635629</c:v>
                </c:pt>
                <c:pt idx="336">
                  <c:v>601.83659324995165</c:v>
                </c:pt>
                <c:pt idx="337">
                  <c:v>600.12915524123798</c:v>
                </c:pt>
                <c:pt idx="338">
                  <c:v>593.89530749484413</c:v>
                </c:pt>
                <c:pt idx="339">
                  <c:v>585.54325267952152</c:v>
                </c:pt>
                <c:pt idx="340">
                  <c:v>596.01770737753861</c:v>
                </c:pt>
                <c:pt idx="341">
                  <c:v>596.08727864461923</c:v>
                </c:pt>
                <c:pt idx="342">
                  <c:v>600.44238056761833</c:v>
                </c:pt>
                <c:pt idx="343">
                  <c:v>601.96046714379406</c:v>
                </c:pt>
                <c:pt idx="344">
                  <c:v>597.60980717730195</c:v>
                </c:pt>
                <c:pt idx="345">
                  <c:v>533.5125447201475</c:v>
                </c:pt>
                <c:pt idx="346">
                  <c:v>589.63018207756784</c:v>
                </c:pt>
                <c:pt idx="347">
                  <c:v>603.00424587804116</c:v>
                </c:pt>
                <c:pt idx="348">
                  <c:v>605.64318594885754</c:v>
                </c:pt>
                <c:pt idx="349">
                  <c:v>610.8663649217674</c:v>
                </c:pt>
                <c:pt idx="350">
                  <c:v>611.38012535838971</c:v>
                </c:pt>
                <c:pt idx="351">
                  <c:v>602.29879493568478</c:v>
                </c:pt>
                <c:pt idx="352">
                  <c:v>602.31085660383962</c:v>
                </c:pt>
                <c:pt idx="353">
                  <c:v>607.05872633819411</c:v>
                </c:pt>
                <c:pt idx="354">
                  <c:v>598.85966309420587</c:v>
                </c:pt>
                <c:pt idx="355">
                  <c:v>592.48571004992311</c:v>
                </c:pt>
                <c:pt idx="356">
                  <c:v>589.96714803732766</c:v>
                </c:pt>
                <c:pt idx="357">
                  <c:v>583.07952949733692</c:v>
                </c:pt>
                <c:pt idx="358">
                  <c:v>578.8570164959242</c:v>
                </c:pt>
                <c:pt idx="359">
                  <c:v>583.77356105942079</c:v>
                </c:pt>
                <c:pt idx="360">
                  <c:v>581.94519147283347</c:v>
                </c:pt>
                <c:pt idx="361">
                  <c:v>582.04220366833886</c:v>
                </c:pt>
                <c:pt idx="362">
                  <c:v>584.32010917107539</c:v>
                </c:pt>
                <c:pt idx="363">
                  <c:v>583.0745054801107</c:v>
                </c:pt>
                <c:pt idx="364">
                  <c:v>579.52327377214613</c:v>
                </c:pt>
                <c:pt idx="365">
                  <c:v>584.41197271945089</c:v>
                </c:pt>
                <c:pt idx="366">
                  <c:v>583.89728352685324</c:v>
                </c:pt>
                <c:pt idx="367">
                  <c:v>579.94673139474457</c:v>
                </c:pt>
                <c:pt idx="368">
                  <c:v>574.66156595073755</c:v>
                </c:pt>
                <c:pt idx="369">
                  <c:v>573.062123235483</c:v>
                </c:pt>
                <c:pt idx="370">
                  <c:v>545.65266883265099</c:v>
                </c:pt>
                <c:pt idx="371">
                  <c:v>553.78849578859194</c:v>
                </c:pt>
                <c:pt idx="372">
                  <c:v>546.45667188196398</c:v>
                </c:pt>
                <c:pt idx="373">
                  <c:v>540.35279754202554</c:v>
                </c:pt>
                <c:pt idx="374">
                  <c:v>534.72243468705244</c:v>
                </c:pt>
                <c:pt idx="375">
                  <c:v>533.31022265692059</c:v>
                </c:pt>
                <c:pt idx="376">
                  <c:v>534.09380027204963</c:v>
                </c:pt>
                <c:pt idx="377">
                  <c:v>531.6963522759537</c:v>
                </c:pt>
                <c:pt idx="378">
                  <c:v>528.02344163385487</c:v>
                </c:pt>
                <c:pt idx="379">
                  <c:v>537.37734513527244</c:v>
                </c:pt>
                <c:pt idx="380">
                  <c:v>535.52528170613846</c:v>
                </c:pt>
                <c:pt idx="381">
                  <c:v>542.46981795799525</c:v>
                </c:pt>
                <c:pt idx="382">
                  <c:v>527.07328752110755</c:v>
                </c:pt>
                <c:pt idx="383">
                  <c:v>526.81243455884805</c:v>
                </c:pt>
                <c:pt idx="384">
                  <c:v>521.92628145427068</c:v>
                </c:pt>
                <c:pt idx="385">
                  <c:v>524.32808101495152</c:v>
                </c:pt>
                <c:pt idx="386">
                  <c:v>525.96374212131184</c:v>
                </c:pt>
                <c:pt idx="387">
                  <c:v>525.92038068182922</c:v>
                </c:pt>
                <c:pt idx="388">
                  <c:v>526.62330843627183</c:v>
                </c:pt>
                <c:pt idx="389">
                  <c:v>527.53248849175952</c:v>
                </c:pt>
                <c:pt idx="390">
                  <c:v>524.4274627708445</c:v>
                </c:pt>
                <c:pt idx="391">
                  <c:v>526.48664615266512</c:v>
                </c:pt>
                <c:pt idx="392">
                  <c:v>524.33200837674565</c:v>
                </c:pt>
                <c:pt idx="393">
                  <c:v>522.54398064717566</c:v>
                </c:pt>
                <c:pt idx="394">
                  <c:v>524.11749187817725</c:v>
                </c:pt>
                <c:pt idx="395">
                  <c:v>524.09406313862053</c:v>
                </c:pt>
                <c:pt idx="396">
                  <c:v>523.06977114293215</c:v>
                </c:pt>
                <c:pt idx="397">
                  <c:v>530.88166826695738</c:v>
                </c:pt>
                <c:pt idx="398">
                  <c:v>537.08026499539983</c:v>
                </c:pt>
                <c:pt idx="399">
                  <c:v>537.15519031989368</c:v>
                </c:pt>
                <c:pt idx="400">
                  <c:v>539.48986187021194</c:v>
                </c:pt>
                <c:pt idx="401">
                  <c:v>537.44694983567842</c:v>
                </c:pt>
                <c:pt idx="402">
                  <c:v>538.56261306143176</c:v>
                </c:pt>
                <c:pt idx="403">
                  <c:v>548.21833518549204</c:v>
                </c:pt>
                <c:pt idx="404">
                  <c:v>533.40126104481203</c:v>
                </c:pt>
                <c:pt idx="405">
                  <c:v>545.45580396191008</c:v>
                </c:pt>
                <c:pt idx="406">
                  <c:v>545.59371309245239</c:v>
                </c:pt>
                <c:pt idx="407">
                  <c:v>544.87996620604235</c:v>
                </c:pt>
                <c:pt idx="408">
                  <c:v>550.94383201286496</c:v>
                </c:pt>
                <c:pt idx="409">
                  <c:v>551.02003499217199</c:v>
                </c:pt>
                <c:pt idx="410">
                  <c:v>559.05510159463154</c:v>
                </c:pt>
                <c:pt idx="411">
                  <c:v>561.10755533967279</c:v>
                </c:pt>
                <c:pt idx="412">
                  <c:v>561.33598749254566</c:v>
                </c:pt>
                <c:pt idx="413">
                  <c:v>562.59340822542879</c:v>
                </c:pt>
                <c:pt idx="414">
                  <c:v>560.66710050856045</c:v>
                </c:pt>
                <c:pt idx="415">
                  <c:v>574.89519337269996</c:v>
                </c:pt>
                <c:pt idx="416">
                  <c:v>579.0962454276065</c:v>
                </c:pt>
                <c:pt idx="417">
                  <c:v>576.79169209938732</c:v>
                </c:pt>
                <c:pt idx="418">
                  <c:v>590.77243619254421</c:v>
                </c:pt>
                <c:pt idx="419">
                  <c:v>565.71427927606362</c:v>
                </c:pt>
                <c:pt idx="420">
                  <c:v>563.14759442111313</c:v>
                </c:pt>
                <c:pt idx="421">
                  <c:v>573.13431361568087</c:v>
                </c:pt>
                <c:pt idx="422">
                  <c:v>585.05473948059023</c:v>
                </c:pt>
                <c:pt idx="423">
                  <c:v>598.92565541505849</c:v>
                </c:pt>
                <c:pt idx="424">
                  <c:v>602.73688406270662</c:v>
                </c:pt>
                <c:pt idx="425">
                  <c:v>606.98462521833653</c:v>
                </c:pt>
                <c:pt idx="426">
                  <c:v>592.8583689143037</c:v>
                </c:pt>
                <c:pt idx="427">
                  <c:v>591.469734084994</c:v>
                </c:pt>
                <c:pt idx="428">
                  <c:v>597.93122702780283</c:v>
                </c:pt>
                <c:pt idx="429">
                  <c:v>599.82012970305198</c:v>
                </c:pt>
                <c:pt idx="430">
                  <c:v>594.82082576839366</c:v>
                </c:pt>
                <c:pt idx="431">
                  <c:v>584.49176546856961</c:v>
                </c:pt>
                <c:pt idx="432">
                  <c:v>577.36396990947878</c:v>
                </c:pt>
                <c:pt idx="433">
                  <c:v>580.05365690862493</c:v>
                </c:pt>
                <c:pt idx="434">
                  <c:v>579.57206006245792</c:v>
                </c:pt>
                <c:pt idx="435">
                  <c:v>580.85538691010618</c:v>
                </c:pt>
                <c:pt idx="436">
                  <c:v>590.19821156115916</c:v>
                </c:pt>
                <c:pt idx="437">
                  <c:v>588.95167693474104</c:v>
                </c:pt>
                <c:pt idx="438">
                  <c:v>596.00554658455735</c:v>
                </c:pt>
                <c:pt idx="439">
                  <c:v>605.01740742179265</c:v>
                </c:pt>
                <c:pt idx="440">
                  <c:v>603.89960952148351</c:v>
                </c:pt>
                <c:pt idx="441">
                  <c:v>604.34669696679566</c:v>
                </c:pt>
                <c:pt idx="442">
                  <c:v>616.63370752009462</c:v>
                </c:pt>
                <c:pt idx="443">
                  <c:v>629.83151781328127</c:v>
                </c:pt>
                <c:pt idx="444">
                  <c:v>621.87884744370274</c:v>
                </c:pt>
                <c:pt idx="445">
                  <c:v>615.29245109589169</c:v>
                </c:pt>
                <c:pt idx="446">
                  <c:v>609.37021995314512</c:v>
                </c:pt>
                <c:pt idx="447">
                  <c:v>596.20121454584591</c:v>
                </c:pt>
                <c:pt idx="448">
                  <c:v>619.44243019470093</c:v>
                </c:pt>
                <c:pt idx="449">
                  <c:v>615.87667231867715</c:v>
                </c:pt>
                <c:pt idx="450">
                  <c:v>603.27275056539736</c:v>
                </c:pt>
                <c:pt idx="451">
                  <c:v>603.43010569560693</c:v>
                </c:pt>
                <c:pt idx="452">
                  <c:v>607.05205961636182</c:v>
                </c:pt>
                <c:pt idx="453">
                  <c:v>600.36053715610524</c:v>
                </c:pt>
                <c:pt idx="454">
                  <c:v>596.1308814413245</c:v>
                </c:pt>
                <c:pt idx="455">
                  <c:v>582.67907823925725</c:v>
                </c:pt>
                <c:pt idx="456">
                  <c:v>580.07256873744564</c:v>
                </c:pt>
                <c:pt idx="457">
                  <c:v>586.00075661236542</c:v>
                </c:pt>
                <c:pt idx="458">
                  <c:v>583.60847301787192</c:v>
                </c:pt>
                <c:pt idx="459">
                  <c:v>579.94389495664666</c:v>
                </c:pt>
                <c:pt idx="460">
                  <c:v>581.33906623832945</c:v>
                </c:pt>
                <c:pt idx="461">
                  <c:v>578.83078964164088</c:v>
                </c:pt>
                <c:pt idx="462">
                  <c:v>573.85408396444814</c:v>
                </c:pt>
                <c:pt idx="463">
                  <c:v>572.60981501357389</c:v>
                </c:pt>
                <c:pt idx="464">
                  <c:v>572.77259967352779</c:v>
                </c:pt>
                <c:pt idx="465">
                  <c:v>574.62218711883997</c:v>
                </c:pt>
                <c:pt idx="466">
                  <c:v>571.98358333111037</c:v>
                </c:pt>
                <c:pt idx="467">
                  <c:v>577.91245924827979</c:v>
                </c:pt>
                <c:pt idx="468">
                  <c:v>574.0765383124351</c:v>
                </c:pt>
                <c:pt idx="469">
                  <c:v>570.18647008663311</c:v>
                </c:pt>
                <c:pt idx="470">
                  <c:v>581.18832855470339</c:v>
                </c:pt>
                <c:pt idx="471">
                  <c:v>580.81288668972138</c:v>
                </c:pt>
                <c:pt idx="472">
                  <c:v>583.25556435228964</c:v>
                </c:pt>
                <c:pt idx="473">
                  <c:v>583.71175500788672</c:v>
                </c:pt>
                <c:pt idx="474">
                  <c:v>591.31528536652411</c:v>
                </c:pt>
                <c:pt idx="475">
                  <c:v>585.6884072359918</c:v>
                </c:pt>
                <c:pt idx="476">
                  <c:v>592.44423014038819</c:v>
                </c:pt>
                <c:pt idx="477">
                  <c:v>583.26271513870438</c:v>
                </c:pt>
                <c:pt idx="478">
                  <c:v>583.54427462004514</c:v>
                </c:pt>
                <c:pt idx="479">
                  <c:v>599.53472153915254</c:v>
                </c:pt>
                <c:pt idx="480">
                  <c:v>596.7285814883877</c:v>
                </c:pt>
                <c:pt idx="481">
                  <c:v>597.66852695322905</c:v>
                </c:pt>
                <c:pt idx="482">
                  <c:v>596.47277454703499</c:v>
                </c:pt>
                <c:pt idx="483">
                  <c:v>593.44660930843463</c:v>
                </c:pt>
                <c:pt idx="484">
                  <c:v>590.90788210893993</c:v>
                </c:pt>
                <c:pt idx="485">
                  <c:v>559.50149756736266</c:v>
                </c:pt>
                <c:pt idx="486">
                  <c:v>493.63476961785358</c:v>
                </c:pt>
                <c:pt idx="487">
                  <c:v>493.33986438549937</c:v>
                </c:pt>
                <c:pt idx="488">
                  <c:v>501.14051145607692</c:v>
                </c:pt>
                <c:pt idx="489">
                  <c:v>499.70884012339184</c:v>
                </c:pt>
                <c:pt idx="490">
                  <c:v>503.05246826615104</c:v>
                </c:pt>
                <c:pt idx="491">
                  <c:v>523.43609082345188</c:v>
                </c:pt>
                <c:pt idx="492">
                  <c:v>544.40780421632519</c:v>
                </c:pt>
                <c:pt idx="493">
                  <c:v>549.56953406025809</c:v>
                </c:pt>
                <c:pt idx="494">
                  <c:v>554.99920033637216</c:v>
                </c:pt>
                <c:pt idx="495">
                  <c:v>559.73554723179507</c:v>
                </c:pt>
                <c:pt idx="496">
                  <c:v>558.24446131445802</c:v>
                </c:pt>
                <c:pt idx="497">
                  <c:v>559.42197218564831</c:v>
                </c:pt>
                <c:pt idx="498">
                  <c:v>560.21539791920918</c:v>
                </c:pt>
                <c:pt idx="499">
                  <c:v>545.99329181541316</c:v>
                </c:pt>
                <c:pt idx="500">
                  <c:v>543.91869069587608</c:v>
                </c:pt>
                <c:pt idx="501">
                  <c:v>563.0654880065141</c:v>
                </c:pt>
                <c:pt idx="502">
                  <c:v>565.405224958291</c:v>
                </c:pt>
                <c:pt idx="503">
                  <c:v>402.8433049590036</c:v>
                </c:pt>
                <c:pt idx="504">
                  <c:v>547.05432179607396</c:v>
                </c:pt>
                <c:pt idx="505">
                  <c:v>549.37604210710469</c:v>
                </c:pt>
                <c:pt idx="506">
                  <c:v>549.56016412783265</c:v>
                </c:pt>
                <c:pt idx="507">
                  <c:v>551.9149701424094</c:v>
                </c:pt>
                <c:pt idx="508">
                  <c:v>551.03874911105765</c:v>
                </c:pt>
                <c:pt idx="509">
                  <c:v>552.47798261074263</c:v>
                </c:pt>
                <c:pt idx="510">
                  <c:v>550.07712562802908</c:v>
                </c:pt>
                <c:pt idx="511">
                  <c:v>544.60995767023371</c:v>
                </c:pt>
                <c:pt idx="512">
                  <c:v>545.22360778453492</c:v>
                </c:pt>
                <c:pt idx="513">
                  <c:v>545.7070998962846</c:v>
                </c:pt>
                <c:pt idx="514">
                  <c:v>545.58159242862916</c:v>
                </c:pt>
                <c:pt idx="515">
                  <c:v>549.28447302194752</c:v>
                </c:pt>
                <c:pt idx="516">
                  <c:v>558.00461852819876</c:v>
                </c:pt>
                <c:pt idx="517">
                  <c:v>553.38639287309763</c:v>
                </c:pt>
                <c:pt idx="518">
                  <c:v>552.92698357173219</c:v>
                </c:pt>
                <c:pt idx="519">
                  <c:v>561.74525795121497</c:v>
                </c:pt>
                <c:pt idx="520">
                  <c:v>566.87080806977815</c:v>
                </c:pt>
                <c:pt idx="521">
                  <c:v>560.15892398594133</c:v>
                </c:pt>
                <c:pt idx="522">
                  <c:v>553.4830183647814</c:v>
                </c:pt>
                <c:pt idx="523">
                  <c:v>563.63545123902361</c:v>
                </c:pt>
                <c:pt idx="524">
                  <c:v>562.04823348300204</c:v>
                </c:pt>
                <c:pt idx="525">
                  <c:v>563.57905889874132</c:v>
                </c:pt>
                <c:pt idx="526">
                  <c:v>562.33810025747243</c:v>
                </c:pt>
                <c:pt idx="527">
                  <c:v>562.80635481938998</c:v>
                </c:pt>
                <c:pt idx="528">
                  <c:v>557.55260754766755</c:v>
                </c:pt>
                <c:pt idx="529">
                  <c:v>555.12606778433258</c:v>
                </c:pt>
                <c:pt idx="530">
                  <c:v>559.39878716858721</c:v>
                </c:pt>
                <c:pt idx="531">
                  <c:v>557.74644785854446</c:v>
                </c:pt>
                <c:pt idx="532">
                  <c:v>564.39960978548379</c:v>
                </c:pt>
                <c:pt idx="533">
                  <c:v>564.05426564558638</c:v>
                </c:pt>
                <c:pt idx="534">
                  <c:v>553.37138555914794</c:v>
                </c:pt>
                <c:pt idx="535">
                  <c:v>542.67556641809767</c:v>
                </c:pt>
                <c:pt idx="536">
                  <c:v>545.53268550199743</c:v>
                </c:pt>
                <c:pt idx="537">
                  <c:v>547.04856323883348</c:v>
                </c:pt>
                <c:pt idx="538">
                  <c:v>545.07293016945493</c:v>
                </c:pt>
                <c:pt idx="539">
                  <c:v>545.30317730808213</c:v>
                </c:pt>
                <c:pt idx="540">
                  <c:v>546.87767369914047</c:v>
                </c:pt>
                <c:pt idx="541">
                  <c:v>546.150151401323</c:v>
                </c:pt>
                <c:pt idx="542">
                  <c:v>547.67858478663675</c:v>
                </c:pt>
                <c:pt idx="543">
                  <c:v>545.90683911764631</c:v>
                </c:pt>
                <c:pt idx="544">
                  <c:v>546.29415264843567</c:v>
                </c:pt>
                <c:pt idx="545">
                  <c:v>547.77604800204972</c:v>
                </c:pt>
                <c:pt idx="546">
                  <c:v>549.71516507843626</c:v>
                </c:pt>
                <c:pt idx="547">
                  <c:v>541.72509849239532</c:v>
                </c:pt>
                <c:pt idx="548">
                  <c:v>537.86593317484608</c:v>
                </c:pt>
                <c:pt idx="549">
                  <c:v>542.24752678585605</c:v>
                </c:pt>
                <c:pt idx="550">
                  <c:v>551.59982061401024</c:v>
                </c:pt>
                <c:pt idx="551">
                  <c:v>555.45859998997867</c:v>
                </c:pt>
                <c:pt idx="552">
                  <c:v>572.76530333084349</c:v>
                </c:pt>
                <c:pt idx="553">
                  <c:v>569.45951132305493</c:v>
                </c:pt>
                <c:pt idx="554">
                  <c:v>514.53968162311639</c:v>
                </c:pt>
                <c:pt idx="555">
                  <c:v>517.40755959575131</c:v>
                </c:pt>
                <c:pt idx="556">
                  <c:v>517.92290354421516</c:v>
                </c:pt>
                <c:pt idx="557">
                  <c:v>522.15992316790141</c:v>
                </c:pt>
                <c:pt idx="558">
                  <c:v>518.30987007792635</c:v>
                </c:pt>
                <c:pt idx="559">
                  <c:v>590.01088082964543</c:v>
                </c:pt>
                <c:pt idx="560">
                  <c:v>587.767729421421</c:v>
                </c:pt>
                <c:pt idx="561">
                  <c:v>583.43232384846885</c:v>
                </c:pt>
                <c:pt idx="562">
                  <c:v>457.31782350682283</c:v>
                </c:pt>
                <c:pt idx="563">
                  <c:v>443.83314325675735</c:v>
                </c:pt>
                <c:pt idx="564">
                  <c:v>443.86006341708651</c:v>
                </c:pt>
                <c:pt idx="565">
                  <c:v>444.18732677586513</c:v>
                </c:pt>
                <c:pt idx="566">
                  <c:v>450.23217904225686</c:v>
                </c:pt>
                <c:pt idx="567">
                  <c:v>455.8727587743337</c:v>
                </c:pt>
                <c:pt idx="568">
                  <c:v>439.20455866129004</c:v>
                </c:pt>
                <c:pt idx="569">
                  <c:v>447.9196862552497</c:v>
                </c:pt>
                <c:pt idx="570">
                  <c:v>441.37665782317436</c:v>
                </c:pt>
                <c:pt idx="571">
                  <c:v>443.64301379876588</c:v>
                </c:pt>
                <c:pt idx="572">
                  <c:v>444.19653837806618</c:v>
                </c:pt>
                <c:pt idx="573">
                  <c:v>443.44368001654175</c:v>
                </c:pt>
                <c:pt idx="574">
                  <c:v>448.05606341708653</c:v>
                </c:pt>
                <c:pt idx="575">
                  <c:v>542.66259670172292</c:v>
                </c:pt>
                <c:pt idx="576">
                  <c:v>572.95595930447894</c:v>
                </c:pt>
                <c:pt idx="577">
                  <c:v>574.1808635913045</c:v>
                </c:pt>
                <c:pt idx="578">
                  <c:v>569.17280570815433</c:v>
                </c:pt>
                <c:pt idx="579">
                  <c:v>583.25778513812952</c:v>
                </c:pt>
                <c:pt idx="580">
                  <c:v>572.26879691129329</c:v>
                </c:pt>
                <c:pt idx="581">
                  <c:v>501.67909115200774</c:v>
                </c:pt>
                <c:pt idx="582">
                  <c:v>537.58005538048167</c:v>
                </c:pt>
                <c:pt idx="583">
                  <c:v>529.06707733315977</c:v>
                </c:pt>
                <c:pt idx="584">
                  <c:v>526.50577536942876</c:v>
                </c:pt>
                <c:pt idx="585">
                  <c:v>527.22572271541912</c:v>
                </c:pt>
                <c:pt idx="586">
                  <c:v>526.645146544775</c:v>
                </c:pt>
                <c:pt idx="587">
                  <c:v>529.4963494681889</c:v>
                </c:pt>
                <c:pt idx="588">
                  <c:v>526.25302280883022</c:v>
                </c:pt>
                <c:pt idx="589">
                  <c:v>516.01071089544484</c:v>
                </c:pt>
                <c:pt idx="590">
                  <c:v>519.80116291618674</c:v>
                </c:pt>
                <c:pt idx="591">
                  <c:v>530.32837351825219</c:v>
                </c:pt>
                <c:pt idx="592">
                  <c:v>537.94428266137072</c:v>
                </c:pt>
                <c:pt idx="593">
                  <c:v>543.86534381530976</c:v>
                </c:pt>
                <c:pt idx="594">
                  <c:v>548.97282201389203</c:v>
                </c:pt>
                <c:pt idx="595">
                  <c:v>569.66779019784428</c:v>
                </c:pt>
                <c:pt idx="596">
                  <c:v>549.96903846865439</c:v>
                </c:pt>
                <c:pt idx="597">
                  <c:v>555.78783235759204</c:v>
                </c:pt>
                <c:pt idx="598">
                  <c:v>546.76425530034487</c:v>
                </c:pt>
                <c:pt idx="599">
                  <c:v>547.33946424308681</c:v>
                </c:pt>
                <c:pt idx="600">
                  <c:v>537.86663692314255</c:v>
                </c:pt>
                <c:pt idx="601">
                  <c:v>545.82345163606931</c:v>
                </c:pt>
                <c:pt idx="602">
                  <c:v>536.85969340931683</c:v>
                </c:pt>
                <c:pt idx="603">
                  <c:v>547.74127351762343</c:v>
                </c:pt>
                <c:pt idx="604">
                  <c:v>559.05804045250693</c:v>
                </c:pt>
                <c:pt idx="605">
                  <c:v>562.57091485078354</c:v>
                </c:pt>
                <c:pt idx="606">
                  <c:v>562.09105878890716</c:v>
                </c:pt>
                <c:pt idx="607">
                  <c:v>547.99545371214515</c:v>
                </c:pt>
                <c:pt idx="608">
                  <c:v>572.26152103974152</c:v>
                </c:pt>
                <c:pt idx="609">
                  <c:v>573.55063641933191</c:v>
                </c:pt>
                <c:pt idx="610">
                  <c:v>559.90394860694244</c:v>
                </c:pt>
                <c:pt idx="611">
                  <c:v>548.19643945760606</c:v>
                </c:pt>
                <c:pt idx="612">
                  <c:v>544.15515070069455</c:v>
                </c:pt>
                <c:pt idx="613">
                  <c:v>546.40074594552698</c:v>
                </c:pt>
                <c:pt idx="614">
                  <c:v>545.18069118609742</c:v>
                </c:pt>
                <c:pt idx="615">
                  <c:v>554.32704303294213</c:v>
                </c:pt>
                <c:pt idx="616">
                  <c:v>575.3474447297142</c:v>
                </c:pt>
                <c:pt idx="617">
                  <c:v>580.60231887437646</c:v>
                </c:pt>
                <c:pt idx="618">
                  <c:v>574.32457416430054</c:v>
                </c:pt>
                <c:pt idx="619">
                  <c:v>573.81513098408595</c:v>
                </c:pt>
                <c:pt idx="620">
                  <c:v>575.13076857765452</c:v>
                </c:pt>
                <c:pt idx="621">
                  <c:v>585.91418625039523</c:v>
                </c:pt>
                <c:pt idx="622">
                  <c:v>594.00950450169876</c:v>
                </c:pt>
                <c:pt idx="623">
                  <c:v>607.57131102734718</c:v>
                </c:pt>
                <c:pt idx="624">
                  <c:v>582.44388706175221</c:v>
                </c:pt>
                <c:pt idx="625">
                  <c:v>580.09517663365364</c:v>
                </c:pt>
                <c:pt idx="626">
                  <c:v>579.89395440689009</c:v>
                </c:pt>
                <c:pt idx="627">
                  <c:v>583.14151779480289</c:v>
                </c:pt>
                <c:pt idx="628">
                  <c:v>573.20749744730222</c:v>
                </c:pt>
                <c:pt idx="629">
                  <c:v>571.42151572117223</c:v>
                </c:pt>
                <c:pt idx="630">
                  <c:v>557.9496324669974</c:v>
                </c:pt>
                <c:pt idx="631">
                  <c:v>555.30332306844821</c:v>
                </c:pt>
                <c:pt idx="632">
                  <c:v>541.33579139632491</c:v>
                </c:pt>
                <c:pt idx="633">
                  <c:v>542.6402312903798</c:v>
                </c:pt>
                <c:pt idx="634">
                  <c:v>550.94317206440007</c:v>
                </c:pt>
                <c:pt idx="635">
                  <c:v>550.99156601649702</c:v>
                </c:pt>
                <c:pt idx="636">
                  <c:v>551.94297022111846</c:v>
                </c:pt>
                <c:pt idx="637">
                  <c:v>547.69094894055388</c:v>
                </c:pt>
                <c:pt idx="638">
                  <c:v>535.86072928519457</c:v>
                </c:pt>
                <c:pt idx="639">
                  <c:v>531.96172156147941</c:v>
                </c:pt>
                <c:pt idx="640">
                  <c:v>519.3916822613578</c:v>
                </c:pt>
                <c:pt idx="641">
                  <c:v>526.65037449174042</c:v>
                </c:pt>
                <c:pt idx="642">
                  <c:v>510.93786019815099</c:v>
                </c:pt>
                <c:pt idx="643">
                  <c:v>521.7453875039821</c:v>
                </c:pt>
                <c:pt idx="644">
                  <c:v>523.24495336376344</c:v>
                </c:pt>
                <c:pt idx="645">
                  <c:v>507.66710219566937</c:v>
                </c:pt>
                <c:pt idx="646">
                  <c:v>521.44246995036337</c:v>
                </c:pt>
                <c:pt idx="647">
                  <c:v>536.01431321448717</c:v>
                </c:pt>
                <c:pt idx="648">
                  <c:v>543.73069831068597</c:v>
                </c:pt>
                <c:pt idx="649">
                  <c:v>557.08319065893295</c:v>
                </c:pt>
                <c:pt idx="650">
                  <c:v>556.80758512699231</c:v>
                </c:pt>
                <c:pt idx="651">
                  <c:v>551.9980129257998</c:v>
                </c:pt>
                <c:pt idx="652">
                  <c:v>534.26717507456465</c:v>
                </c:pt>
                <c:pt idx="653">
                  <c:v>529.99495438416011</c:v>
                </c:pt>
                <c:pt idx="654">
                  <c:v>520.29328351888046</c:v>
                </c:pt>
                <c:pt idx="655">
                  <c:v>539.77562890169872</c:v>
                </c:pt>
                <c:pt idx="656">
                  <c:v>547.60453241569223</c:v>
                </c:pt>
                <c:pt idx="657">
                  <c:v>541.0223826157893</c:v>
                </c:pt>
                <c:pt idx="658">
                  <c:v>538.57522004153884</c:v>
                </c:pt>
                <c:pt idx="659">
                  <c:v>539.30227749466212</c:v>
                </c:pt>
                <c:pt idx="660">
                  <c:v>529.08564985878274</c:v>
                </c:pt>
                <c:pt idx="661">
                  <c:v>532.42966392251185</c:v>
                </c:pt>
                <c:pt idx="662">
                  <c:v>529.31552509335859</c:v>
                </c:pt>
                <c:pt idx="663">
                  <c:v>524.12076407754512</c:v>
                </c:pt>
                <c:pt idx="664">
                  <c:v>541.66068873726147</c:v>
                </c:pt>
                <c:pt idx="665">
                  <c:v>540.82470838400366</c:v>
                </c:pt>
                <c:pt idx="666">
                  <c:v>540.71066276657461</c:v>
                </c:pt>
                <c:pt idx="667">
                  <c:v>520.01416318891609</c:v>
                </c:pt>
                <c:pt idx="668">
                  <c:v>511.17325947370773</c:v>
                </c:pt>
                <c:pt idx="669">
                  <c:v>523.50879937226705</c:v>
                </c:pt>
                <c:pt idx="670">
                  <c:v>523.27156111923102</c:v>
                </c:pt>
                <c:pt idx="671">
                  <c:v>517.95363270909377</c:v>
                </c:pt>
                <c:pt idx="672">
                  <c:v>521.85117517031449</c:v>
                </c:pt>
                <c:pt idx="673">
                  <c:v>523.73702295373755</c:v>
                </c:pt>
                <c:pt idx="674">
                  <c:v>536.9193484721801</c:v>
                </c:pt>
                <c:pt idx="675">
                  <c:v>409.30233521365955</c:v>
                </c:pt>
                <c:pt idx="676">
                  <c:v>557.83511728751375</c:v>
                </c:pt>
                <c:pt idx="677">
                  <c:v>564.69815824206853</c:v>
                </c:pt>
                <c:pt idx="678">
                  <c:v>539.17816621974771</c:v>
                </c:pt>
                <c:pt idx="679">
                  <c:v>534.82107769185779</c:v>
                </c:pt>
                <c:pt idx="680">
                  <c:v>545.54359134547201</c:v>
                </c:pt>
                <c:pt idx="681">
                  <c:v>560.28748609858553</c:v>
                </c:pt>
                <c:pt idx="682">
                  <c:v>577.78019478002761</c:v>
                </c:pt>
                <c:pt idx="683">
                  <c:v>580.97466193729497</c:v>
                </c:pt>
                <c:pt idx="684">
                  <c:v>552.66843629442064</c:v>
                </c:pt>
                <c:pt idx="685">
                  <c:v>510.54310225963007</c:v>
                </c:pt>
                <c:pt idx="686">
                  <c:v>564.13521335327471</c:v>
                </c:pt>
                <c:pt idx="687">
                  <c:v>565.76855447110688</c:v>
                </c:pt>
                <c:pt idx="688">
                  <c:v>588.9345289915799</c:v>
                </c:pt>
                <c:pt idx="689">
                  <c:v>577.6492790942832</c:v>
                </c:pt>
                <c:pt idx="690">
                  <c:v>575.98209201059888</c:v>
                </c:pt>
                <c:pt idx="691">
                  <c:v>581.22180696533235</c:v>
                </c:pt>
                <c:pt idx="692">
                  <c:v>568.11749859521456</c:v>
                </c:pt>
                <c:pt idx="693">
                  <c:v>562.60218480731737</c:v>
                </c:pt>
                <c:pt idx="694">
                  <c:v>576.87443014444295</c:v>
                </c:pt>
                <c:pt idx="695">
                  <c:v>551.39946307765217</c:v>
                </c:pt>
                <c:pt idx="696">
                  <c:v>593.13811741536892</c:v>
                </c:pt>
                <c:pt idx="697">
                  <c:v>596.36439702154689</c:v>
                </c:pt>
                <c:pt idx="698">
                  <c:v>578.25277734867461</c:v>
                </c:pt>
                <c:pt idx="699">
                  <c:v>574.10918913596959</c:v>
                </c:pt>
                <c:pt idx="700">
                  <c:v>570.39518018540286</c:v>
                </c:pt>
                <c:pt idx="701">
                  <c:v>574.65495740250378</c:v>
                </c:pt>
                <c:pt idx="702">
                  <c:v>570.4752634799604</c:v>
                </c:pt>
                <c:pt idx="703">
                  <c:v>583.30623736674625</c:v>
                </c:pt>
                <c:pt idx="704">
                  <c:v>599.02092453496891</c:v>
                </c:pt>
                <c:pt idx="705">
                  <c:v>590.54237388577144</c:v>
                </c:pt>
                <c:pt idx="706">
                  <c:v>574.3341423496779</c:v>
                </c:pt>
                <c:pt idx="707">
                  <c:v>571.47993952302863</c:v>
                </c:pt>
                <c:pt idx="708">
                  <c:v>580.67545602718656</c:v>
                </c:pt>
                <c:pt idx="709">
                  <c:v>587.02247998362895</c:v>
                </c:pt>
                <c:pt idx="710">
                  <c:v>582.1534891025733</c:v>
                </c:pt>
                <c:pt idx="711">
                  <c:v>583.13558791477726</c:v>
                </c:pt>
                <c:pt idx="712">
                  <c:v>580.13224830640559</c:v>
                </c:pt>
                <c:pt idx="713">
                  <c:v>581.20236471861938</c:v>
                </c:pt>
                <c:pt idx="714">
                  <c:v>571.26772135304952</c:v>
                </c:pt>
                <c:pt idx="715">
                  <c:v>575.04072708068588</c:v>
                </c:pt>
                <c:pt idx="716">
                  <c:v>585.91788937162846</c:v>
                </c:pt>
                <c:pt idx="717">
                  <c:v>587.89113086715781</c:v>
                </c:pt>
                <c:pt idx="718">
                  <c:v>569.7645463761404</c:v>
                </c:pt>
                <c:pt idx="719">
                  <c:v>576.13252049313564</c:v>
                </c:pt>
                <c:pt idx="720">
                  <c:v>565.90997287124367</c:v>
                </c:pt>
                <c:pt idx="721">
                  <c:v>551.96790096418806</c:v>
                </c:pt>
                <c:pt idx="722">
                  <c:v>549.59606380148489</c:v>
                </c:pt>
                <c:pt idx="723">
                  <c:v>551.10852281898349</c:v>
                </c:pt>
                <c:pt idx="724">
                  <c:v>559.37088341483104</c:v>
                </c:pt>
                <c:pt idx="725">
                  <c:v>567.9267837181203</c:v>
                </c:pt>
                <c:pt idx="726">
                  <c:v>544.18707954759361</c:v>
                </c:pt>
                <c:pt idx="727">
                  <c:v>572.79621052866969</c:v>
                </c:pt>
                <c:pt idx="728">
                  <c:v>575.63190109553659</c:v>
                </c:pt>
                <c:pt idx="729">
                  <c:v>580.54040626668791</c:v>
                </c:pt>
                <c:pt idx="730">
                  <c:v>540.32779951508587</c:v>
                </c:pt>
                <c:pt idx="731">
                  <c:v>554.36115812044329</c:v>
                </c:pt>
                <c:pt idx="732">
                  <c:v>571.17918951240301</c:v>
                </c:pt>
                <c:pt idx="733">
                  <c:v>583.08738834060603</c:v>
                </c:pt>
                <c:pt idx="734">
                  <c:v>586.71552927692562</c:v>
                </c:pt>
                <c:pt idx="735">
                  <c:v>573.68246546352736</c:v>
                </c:pt>
                <c:pt idx="736">
                  <c:v>588.75996807268291</c:v>
                </c:pt>
                <c:pt idx="737">
                  <c:v>600.90950450060257</c:v>
                </c:pt>
                <c:pt idx="738">
                  <c:v>577.90709021917007</c:v>
                </c:pt>
                <c:pt idx="739">
                  <c:v>570.97344012687665</c:v>
                </c:pt>
                <c:pt idx="740">
                  <c:v>594.6167529726273</c:v>
                </c:pt>
                <c:pt idx="741">
                  <c:v>584.83487453084058</c:v>
                </c:pt>
                <c:pt idx="742">
                  <c:v>570.11268723930414</c:v>
                </c:pt>
                <c:pt idx="743">
                  <c:v>588.27952462872327</c:v>
                </c:pt>
                <c:pt idx="744">
                  <c:v>577.45935544687109</c:v>
                </c:pt>
                <c:pt idx="745">
                  <c:v>576.09867350848754</c:v>
                </c:pt>
                <c:pt idx="746">
                  <c:v>589.11225148307881</c:v>
                </c:pt>
                <c:pt idx="747">
                  <c:v>590.13165172313916</c:v>
                </c:pt>
                <c:pt idx="748">
                  <c:v>578.87336699751097</c:v>
                </c:pt>
                <c:pt idx="749">
                  <c:v>579.56534740910706</c:v>
                </c:pt>
                <c:pt idx="750">
                  <c:v>587.82563516867765</c:v>
                </c:pt>
                <c:pt idx="751">
                  <c:v>582.2022746074141</c:v>
                </c:pt>
                <c:pt idx="752">
                  <c:v>585.94417427736585</c:v>
                </c:pt>
                <c:pt idx="753">
                  <c:v>593.03048515952514</c:v>
                </c:pt>
                <c:pt idx="754">
                  <c:v>585.44117905936207</c:v>
                </c:pt>
                <c:pt idx="755">
                  <c:v>563.4556864753165</c:v>
                </c:pt>
                <c:pt idx="756">
                  <c:v>563.07724613097366</c:v>
                </c:pt>
                <c:pt idx="757">
                  <c:v>551.59473035936367</c:v>
                </c:pt>
                <c:pt idx="758">
                  <c:v>570.64470283345383</c:v>
                </c:pt>
                <c:pt idx="759">
                  <c:v>572.36156628159131</c:v>
                </c:pt>
                <c:pt idx="760">
                  <c:v>568.21414969317493</c:v>
                </c:pt>
                <c:pt idx="761">
                  <c:v>569.86648778091171</c:v>
                </c:pt>
                <c:pt idx="762">
                  <c:v>572.27340640732712</c:v>
                </c:pt>
                <c:pt idx="763">
                  <c:v>570.59604820300171</c:v>
                </c:pt>
                <c:pt idx="764">
                  <c:v>577.12330892223292</c:v>
                </c:pt>
                <c:pt idx="765">
                  <c:v>555.69783772983942</c:v>
                </c:pt>
                <c:pt idx="766">
                  <c:v>565.13130302691775</c:v>
                </c:pt>
                <c:pt idx="767">
                  <c:v>569.02635705938894</c:v>
                </c:pt>
                <c:pt idx="768">
                  <c:v>564.93947938158965</c:v>
                </c:pt>
                <c:pt idx="769">
                  <c:v>548.81944425492907</c:v>
                </c:pt>
                <c:pt idx="770">
                  <c:v>541.53821380141324</c:v>
                </c:pt>
                <c:pt idx="771">
                  <c:v>549.59349162809747</c:v>
                </c:pt>
                <c:pt idx="772">
                  <c:v>574.11505798567578</c:v>
                </c:pt>
                <c:pt idx="773">
                  <c:v>571.39424184153881</c:v>
                </c:pt>
                <c:pt idx="774">
                  <c:v>566.95530094036201</c:v>
                </c:pt>
                <c:pt idx="775">
                  <c:v>566.23677626255005</c:v>
                </c:pt>
                <c:pt idx="776">
                  <c:v>552.18646437815914</c:v>
                </c:pt>
                <c:pt idx="777">
                  <c:v>552.30156395889185</c:v>
                </c:pt>
                <c:pt idx="778">
                  <c:v>560.12419211492545</c:v>
                </c:pt>
                <c:pt idx="779">
                  <c:v>563.089493254584</c:v>
                </c:pt>
                <c:pt idx="780">
                  <c:v>560.71593662134137</c:v>
                </c:pt>
                <c:pt idx="781">
                  <c:v>547.64394474049959</c:v>
                </c:pt>
                <c:pt idx="782">
                  <c:v>550.17224664344712</c:v>
                </c:pt>
                <c:pt idx="783">
                  <c:v>544.95293179078806</c:v>
                </c:pt>
                <c:pt idx="784">
                  <c:v>541.45241106705737</c:v>
                </c:pt>
                <c:pt idx="785">
                  <c:v>529.79141812564581</c:v>
                </c:pt>
                <c:pt idx="786">
                  <c:v>484.39158172029295</c:v>
                </c:pt>
                <c:pt idx="787">
                  <c:v>486.96057626373783</c:v>
                </c:pt>
                <c:pt idx="788">
                  <c:v>482.17722196493656</c:v>
                </c:pt>
                <c:pt idx="789">
                  <c:v>532.66456473009873</c:v>
                </c:pt>
                <c:pt idx="790">
                  <c:v>551.81722121445648</c:v>
                </c:pt>
                <c:pt idx="791">
                  <c:v>557.21201278278636</c:v>
                </c:pt>
                <c:pt idx="792">
                  <c:v>563.43646597483621</c:v>
                </c:pt>
                <c:pt idx="793">
                  <c:v>569.89188530620208</c:v>
                </c:pt>
                <c:pt idx="794">
                  <c:v>552.31345766179891</c:v>
                </c:pt>
                <c:pt idx="795">
                  <c:v>554.0558916706691</c:v>
                </c:pt>
                <c:pt idx="796">
                  <c:v>562.46639725193563</c:v>
                </c:pt>
                <c:pt idx="797">
                  <c:v>556.80796123301297</c:v>
                </c:pt>
                <c:pt idx="798">
                  <c:v>555.39932068445091</c:v>
                </c:pt>
                <c:pt idx="799">
                  <c:v>564.55273065129245</c:v>
                </c:pt>
                <c:pt idx="800">
                  <c:v>569.11535621284247</c:v>
                </c:pt>
                <c:pt idx="801">
                  <c:v>577.88439727010075</c:v>
                </c:pt>
                <c:pt idx="802">
                  <c:v>589.43957290095807</c:v>
                </c:pt>
                <c:pt idx="803">
                  <c:v>592.07998014930354</c:v>
                </c:pt>
                <c:pt idx="804">
                  <c:v>557.44019612687919</c:v>
                </c:pt>
                <c:pt idx="805">
                  <c:v>554.23241316991528</c:v>
                </c:pt>
                <c:pt idx="806">
                  <c:v>580.55276732234665</c:v>
                </c:pt>
                <c:pt idx="807">
                  <c:v>563.04487453526974</c:v>
                </c:pt>
                <c:pt idx="808">
                  <c:v>563.92032936219016</c:v>
                </c:pt>
                <c:pt idx="809">
                  <c:v>567.04498683655265</c:v>
                </c:pt>
                <c:pt idx="810">
                  <c:v>560.21940694098873</c:v>
                </c:pt>
                <c:pt idx="811">
                  <c:v>545.89900909489575</c:v>
                </c:pt>
                <c:pt idx="812">
                  <c:v>538.26177941445007</c:v>
                </c:pt>
                <c:pt idx="813">
                  <c:v>547.33583146935655</c:v>
                </c:pt>
                <c:pt idx="814">
                  <c:v>561.47065685645055</c:v>
                </c:pt>
                <c:pt idx="815">
                  <c:v>561.97493807025114</c:v>
                </c:pt>
                <c:pt idx="816">
                  <c:v>563.13541061071419</c:v>
                </c:pt>
                <c:pt idx="817">
                  <c:v>565.96422956941342</c:v>
                </c:pt>
                <c:pt idx="818">
                  <c:v>535.85502143188023</c:v>
                </c:pt>
                <c:pt idx="819">
                  <c:v>538.3793233781447</c:v>
                </c:pt>
                <c:pt idx="820">
                  <c:v>545.38416486307403</c:v>
                </c:pt>
                <c:pt idx="821">
                  <c:v>567.87973273395562</c:v>
                </c:pt>
                <c:pt idx="822">
                  <c:v>575.77678096473232</c:v>
                </c:pt>
                <c:pt idx="823">
                  <c:v>551.94704863810193</c:v>
                </c:pt>
                <c:pt idx="824">
                  <c:v>554.07789576268613</c:v>
                </c:pt>
                <c:pt idx="825">
                  <c:v>558.18138125530595</c:v>
                </c:pt>
                <c:pt idx="826">
                  <c:v>545.64560452796752</c:v>
                </c:pt>
                <c:pt idx="827">
                  <c:v>554.80580390077807</c:v>
                </c:pt>
                <c:pt idx="828">
                  <c:v>558.79259398619649</c:v>
                </c:pt>
                <c:pt idx="829">
                  <c:v>580.2516981445666</c:v>
                </c:pt>
                <c:pt idx="830">
                  <c:v>579.7478080117088</c:v>
                </c:pt>
                <c:pt idx="831">
                  <c:v>585.73016784042477</c:v>
                </c:pt>
                <c:pt idx="832">
                  <c:v>624.08511581800599</c:v>
                </c:pt>
                <c:pt idx="833">
                  <c:v>618.7557940269287</c:v>
                </c:pt>
                <c:pt idx="834">
                  <c:v>603.11019802055409</c:v>
                </c:pt>
                <c:pt idx="835">
                  <c:v>605.39947362653913</c:v>
                </c:pt>
                <c:pt idx="836">
                  <c:v>601.71075206769706</c:v>
                </c:pt>
                <c:pt idx="837">
                  <c:v>609.94956646517744</c:v>
                </c:pt>
                <c:pt idx="838">
                  <c:v>605.07204582528618</c:v>
                </c:pt>
                <c:pt idx="839">
                  <c:v>592.28724393456537</c:v>
                </c:pt>
                <c:pt idx="840">
                  <c:v>585.20560956392774</c:v>
                </c:pt>
                <c:pt idx="841">
                  <c:v>594.62537316095018</c:v>
                </c:pt>
                <c:pt idx="842">
                  <c:v>601.8707851043082</c:v>
                </c:pt>
                <c:pt idx="843">
                  <c:v>607.82176441271622</c:v>
                </c:pt>
                <c:pt idx="844">
                  <c:v>598.80560350512553</c:v>
                </c:pt>
                <c:pt idx="845">
                  <c:v>606.17963996518358</c:v>
                </c:pt>
                <c:pt idx="846">
                  <c:v>593.33804787166889</c:v>
                </c:pt>
                <c:pt idx="847">
                  <c:v>594.41179287518332</c:v>
                </c:pt>
                <c:pt idx="848">
                  <c:v>599.07884539260442</c:v>
                </c:pt>
                <c:pt idx="849">
                  <c:v>606.0102584870092</c:v>
                </c:pt>
                <c:pt idx="850">
                  <c:v>581.44030591821343</c:v>
                </c:pt>
                <c:pt idx="851">
                  <c:v>584.18093418254</c:v>
                </c:pt>
                <c:pt idx="852">
                  <c:v>589.08420254199621</c:v>
                </c:pt>
                <c:pt idx="853">
                  <c:v>592.20286580303207</c:v>
                </c:pt>
                <c:pt idx="854">
                  <c:v>589.63820708085802</c:v>
                </c:pt>
                <c:pt idx="855">
                  <c:v>590.62345428935134</c:v>
                </c:pt>
                <c:pt idx="856">
                  <c:v>588.17141592823225</c:v>
                </c:pt>
                <c:pt idx="857">
                  <c:v>588.92263128888885</c:v>
                </c:pt>
                <c:pt idx="858">
                  <c:v>588.50775150741674</c:v>
                </c:pt>
                <c:pt idx="859">
                  <c:v>588.48778931729089</c:v>
                </c:pt>
                <c:pt idx="860">
                  <c:v>575.24891500494959</c:v>
                </c:pt>
                <c:pt idx="861">
                  <c:v>569.28759901696401</c:v>
                </c:pt>
                <c:pt idx="862">
                  <c:v>571.78910237857917</c:v>
                </c:pt>
                <c:pt idx="863">
                  <c:v>573.68537057699371</c:v>
                </c:pt>
                <c:pt idx="864">
                  <c:v>573.71716451274187</c:v>
                </c:pt>
                <c:pt idx="865">
                  <c:v>581.73765009269471</c:v>
                </c:pt>
                <c:pt idx="866">
                  <c:v>588.2890627039742</c:v>
                </c:pt>
                <c:pt idx="867">
                  <c:v>583.30655244970296</c:v>
                </c:pt>
                <c:pt idx="868">
                  <c:v>577.96140469897739</c:v>
                </c:pt>
                <c:pt idx="869">
                  <c:v>582.0820319083233</c:v>
                </c:pt>
                <c:pt idx="870">
                  <c:v>574.99750101835286</c:v>
                </c:pt>
                <c:pt idx="871">
                  <c:v>573.14492938237834</c:v>
                </c:pt>
                <c:pt idx="872">
                  <c:v>577.23713509240838</c:v>
                </c:pt>
                <c:pt idx="873">
                  <c:v>567.03334685879508</c:v>
                </c:pt>
                <c:pt idx="874">
                  <c:v>541.16169177176278</c:v>
                </c:pt>
                <c:pt idx="875">
                  <c:v>547.00654704904105</c:v>
                </c:pt>
                <c:pt idx="876">
                  <c:v>579.0303996095696</c:v>
                </c:pt>
                <c:pt idx="877">
                  <c:v>565.47995162185759</c:v>
                </c:pt>
                <c:pt idx="878">
                  <c:v>572.60742105047723</c:v>
                </c:pt>
                <c:pt idx="879">
                  <c:v>578.00797409049824</c:v>
                </c:pt>
                <c:pt idx="880">
                  <c:v>551.85788005155734</c:v>
                </c:pt>
                <c:pt idx="881">
                  <c:v>571.39215631783657</c:v>
                </c:pt>
                <c:pt idx="882">
                  <c:v>560.70214590985961</c:v>
                </c:pt>
                <c:pt idx="883">
                  <c:v>561.4724890492721</c:v>
                </c:pt>
                <c:pt idx="884">
                  <c:v>541.82665912576169</c:v>
                </c:pt>
                <c:pt idx="885">
                  <c:v>533.41958995676498</c:v>
                </c:pt>
                <c:pt idx="886">
                  <c:v>528.37042297744676</c:v>
                </c:pt>
                <c:pt idx="887">
                  <c:v>538.93620351843526</c:v>
                </c:pt>
                <c:pt idx="888">
                  <c:v>534.33048130145312</c:v>
                </c:pt>
                <c:pt idx="889">
                  <c:v>527.76057399057754</c:v>
                </c:pt>
                <c:pt idx="890">
                  <c:v>555.8108429463424</c:v>
                </c:pt>
                <c:pt idx="891">
                  <c:v>569.83466723339211</c:v>
                </c:pt>
                <c:pt idx="892">
                  <c:v>594.86475466053901</c:v>
                </c:pt>
                <c:pt idx="893">
                  <c:v>591.37266651376956</c:v>
                </c:pt>
                <c:pt idx="894">
                  <c:v>584.68907471019998</c:v>
                </c:pt>
                <c:pt idx="895">
                  <c:v>565.58264417403234</c:v>
                </c:pt>
                <c:pt idx="896">
                  <c:v>556.48603019595919</c:v>
                </c:pt>
                <c:pt idx="897">
                  <c:v>598.1356019206637</c:v>
                </c:pt>
                <c:pt idx="898">
                  <c:v>574.75958111728551</c:v>
                </c:pt>
                <c:pt idx="899">
                  <c:v>574.35964644224055</c:v>
                </c:pt>
                <c:pt idx="900">
                  <c:v>576.09333924133455</c:v>
                </c:pt>
                <c:pt idx="901">
                  <c:v>550.6161325832195</c:v>
                </c:pt>
                <c:pt idx="902">
                  <c:v>545.1186485420709</c:v>
                </c:pt>
                <c:pt idx="903">
                  <c:v>547.65486360684395</c:v>
                </c:pt>
                <c:pt idx="904">
                  <c:v>560.26229123063649</c:v>
                </c:pt>
                <c:pt idx="905">
                  <c:v>566.39305262442656</c:v>
                </c:pt>
                <c:pt idx="906">
                  <c:v>555.35586215432443</c:v>
                </c:pt>
                <c:pt idx="907">
                  <c:v>558.43120298116378</c:v>
                </c:pt>
                <c:pt idx="908">
                  <c:v>537.07954326060087</c:v>
                </c:pt>
                <c:pt idx="909">
                  <c:v>520.40155867170085</c:v>
                </c:pt>
                <c:pt idx="910">
                  <c:v>513.22844542547682</c:v>
                </c:pt>
                <c:pt idx="911">
                  <c:v>535.30945386665121</c:v>
                </c:pt>
                <c:pt idx="912">
                  <c:v>535.97528214446186</c:v>
                </c:pt>
                <c:pt idx="913">
                  <c:v>526.59286981823686</c:v>
                </c:pt>
                <c:pt idx="914">
                  <c:v>518.99156254117656</c:v>
                </c:pt>
                <c:pt idx="915">
                  <c:v>535.19193548693374</c:v>
                </c:pt>
                <c:pt idx="916">
                  <c:v>534.14393479001774</c:v>
                </c:pt>
                <c:pt idx="917">
                  <c:v>523.96570259403734</c:v>
                </c:pt>
                <c:pt idx="918">
                  <c:v>510.49310537513372</c:v>
                </c:pt>
                <c:pt idx="919">
                  <c:v>497.06113092278042</c:v>
                </c:pt>
                <c:pt idx="920">
                  <c:v>528.35162911044961</c:v>
                </c:pt>
                <c:pt idx="921">
                  <c:v>538.97789494948051</c:v>
                </c:pt>
                <c:pt idx="922">
                  <c:v>549.97718296615903</c:v>
                </c:pt>
                <c:pt idx="923">
                  <c:v>556.79355214367934</c:v>
                </c:pt>
                <c:pt idx="924">
                  <c:v>553.32075266509139</c:v>
                </c:pt>
                <c:pt idx="925">
                  <c:v>555.97489319339206</c:v>
                </c:pt>
                <c:pt idx="926">
                  <c:v>456.10222415616306</c:v>
                </c:pt>
                <c:pt idx="927">
                  <c:v>462.52564400349144</c:v>
                </c:pt>
                <c:pt idx="928">
                  <c:v>461.93697224776616</c:v>
                </c:pt>
                <c:pt idx="929">
                  <c:v>461.71533830261404</c:v>
                </c:pt>
                <c:pt idx="930">
                  <c:v>463.34020316379667</c:v>
                </c:pt>
                <c:pt idx="931">
                  <c:v>451.75570698059056</c:v>
                </c:pt>
                <c:pt idx="932">
                  <c:v>460.20220888898746</c:v>
                </c:pt>
                <c:pt idx="933">
                  <c:v>456.7673520187584</c:v>
                </c:pt>
                <c:pt idx="934">
                  <c:v>456.46114782028519</c:v>
                </c:pt>
                <c:pt idx="935">
                  <c:v>454.23909056837681</c:v>
                </c:pt>
                <c:pt idx="936">
                  <c:v>454.7842513079392</c:v>
                </c:pt>
                <c:pt idx="937">
                  <c:v>456.34413757334988</c:v>
                </c:pt>
                <c:pt idx="938">
                  <c:v>477.29521762751023</c:v>
                </c:pt>
                <c:pt idx="939">
                  <c:v>495.90726018479705</c:v>
                </c:pt>
                <c:pt idx="940">
                  <c:v>526.42775312341405</c:v>
                </c:pt>
                <c:pt idx="941">
                  <c:v>505.46575261583564</c:v>
                </c:pt>
                <c:pt idx="942">
                  <c:v>508.24410187311992</c:v>
                </c:pt>
                <c:pt idx="943">
                  <c:v>508.50711744735764</c:v>
                </c:pt>
                <c:pt idx="944">
                  <c:v>501.98075999199864</c:v>
                </c:pt>
                <c:pt idx="945">
                  <c:v>494.30243150214397</c:v>
                </c:pt>
                <c:pt idx="946">
                  <c:v>515.80869509427589</c:v>
                </c:pt>
                <c:pt idx="947">
                  <c:v>510.67834852338189</c:v>
                </c:pt>
                <c:pt idx="948">
                  <c:v>499.35949345395574</c:v>
                </c:pt>
                <c:pt idx="949">
                  <c:v>495.92356846307331</c:v>
                </c:pt>
                <c:pt idx="950">
                  <c:v>498.20627407284513</c:v>
                </c:pt>
                <c:pt idx="951">
                  <c:v>485.77454306249507</c:v>
                </c:pt>
                <c:pt idx="952">
                  <c:v>477.21193425836799</c:v>
                </c:pt>
                <c:pt idx="953">
                  <c:v>485.95290596847053</c:v>
                </c:pt>
                <c:pt idx="954">
                  <c:v>486.53144742571305</c:v>
                </c:pt>
                <c:pt idx="955">
                  <c:v>491.33830822033002</c:v>
                </c:pt>
                <c:pt idx="956">
                  <c:v>478.06272712376494</c:v>
                </c:pt>
                <c:pt idx="957">
                  <c:v>478.07796511305588</c:v>
                </c:pt>
                <c:pt idx="958">
                  <c:v>469.17328857533442</c:v>
                </c:pt>
                <c:pt idx="959">
                  <c:v>472.33813709968905</c:v>
                </c:pt>
                <c:pt idx="960">
                  <c:v>485.63669782744398</c:v>
                </c:pt>
                <c:pt idx="961">
                  <c:v>499.15408605854208</c:v>
                </c:pt>
                <c:pt idx="962">
                  <c:v>502.75718844964501</c:v>
                </c:pt>
                <c:pt idx="963">
                  <c:v>509.92983149417915</c:v>
                </c:pt>
                <c:pt idx="964">
                  <c:v>515.89857581824401</c:v>
                </c:pt>
                <c:pt idx="965">
                  <c:v>486.36892232905302</c:v>
                </c:pt>
                <c:pt idx="966">
                  <c:v>488.30543651260291</c:v>
                </c:pt>
                <c:pt idx="967">
                  <c:v>518.69049646134908</c:v>
                </c:pt>
                <c:pt idx="968">
                  <c:v>527.20380212379996</c:v>
                </c:pt>
                <c:pt idx="969">
                  <c:v>544.98207086367802</c:v>
                </c:pt>
                <c:pt idx="970">
                  <c:v>545.06504267299078</c:v>
                </c:pt>
                <c:pt idx="971">
                  <c:v>550.8973323353689</c:v>
                </c:pt>
                <c:pt idx="972">
                  <c:v>527.25379653170432</c:v>
                </c:pt>
                <c:pt idx="973">
                  <c:v>516.90260213513602</c:v>
                </c:pt>
                <c:pt idx="974">
                  <c:v>543.63827322783038</c:v>
                </c:pt>
                <c:pt idx="975">
                  <c:v>547.46736950458762</c:v>
                </c:pt>
                <c:pt idx="976">
                  <c:v>524.36098809872453</c:v>
                </c:pt>
                <c:pt idx="977">
                  <c:v>518.03777710959992</c:v>
                </c:pt>
                <c:pt idx="978">
                  <c:v>519.16787088549415</c:v>
                </c:pt>
                <c:pt idx="979">
                  <c:v>516.80994613704763</c:v>
                </c:pt>
                <c:pt idx="980">
                  <c:v>507.08988108631775</c:v>
                </c:pt>
                <c:pt idx="981">
                  <c:v>542.5228034607087</c:v>
                </c:pt>
                <c:pt idx="982">
                  <c:v>552.71791715372763</c:v>
                </c:pt>
                <c:pt idx="983">
                  <c:v>558.06127534652478</c:v>
                </c:pt>
                <c:pt idx="984">
                  <c:v>549.72693011077502</c:v>
                </c:pt>
                <c:pt idx="985">
                  <c:v>541.17913707700029</c:v>
                </c:pt>
                <c:pt idx="986">
                  <c:v>519.65335024560295</c:v>
                </c:pt>
                <c:pt idx="987">
                  <c:v>518.77664805822997</c:v>
                </c:pt>
                <c:pt idx="988">
                  <c:v>551.21196942731535</c:v>
                </c:pt>
                <c:pt idx="989">
                  <c:v>556.28855303417515</c:v>
                </c:pt>
                <c:pt idx="990">
                  <c:v>555.51357730082384</c:v>
                </c:pt>
                <c:pt idx="991">
                  <c:v>561.32652839583795</c:v>
                </c:pt>
                <c:pt idx="992">
                  <c:v>550.18192666147775</c:v>
                </c:pt>
                <c:pt idx="993">
                  <c:v>524.93653881010277</c:v>
                </c:pt>
                <c:pt idx="994">
                  <c:v>524.44292367958576</c:v>
                </c:pt>
                <c:pt idx="995">
                  <c:v>556.21000126676824</c:v>
                </c:pt>
                <c:pt idx="996">
                  <c:v>566.8680133997434</c:v>
                </c:pt>
                <c:pt idx="997">
                  <c:v>561.65116779300376</c:v>
                </c:pt>
                <c:pt idx="998">
                  <c:v>559.98333830161619</c:v>
                </c:pt>
                <c:pt idx="999">
                  <c:v>552.9506040910419</c:v>
                </c:pt>
                <c:pt idx="1000">
                  <c:v>515.16527588030306</c:v>
                </c:pt>
                <c:pt idx="1001">
                  <c:v>513.41444834656818</c:v>
                </c:pt>
                <c:pt idx="1002">
                  <c:v>525.08300502277859</c:v>
                </c:pt>
                <c:pt idx="1003">
                  <c:v>501.2461987818491</c:v>
                </c:pt>
                <c:pt idx="1004">
                  <c:v>513.71021035519539</c:v>
                </c:pt>
                <c:pt idx="1005">
                  <c:v>503.8754148083313</c:v>
                </c:pt>
                <c:pt idx="1006">
                  <c:v>498.22216170661864</c:v>
                </c:pt>
                <c:pt idx="1007">
                  <c:v>497.26750272384345</c:v>
                </c:pt>
                <c:pt idx="1008">
                  <c:v>500.27028536955305</c:v>
                </c:pt>
                <c:pt idx="1009">
                  <c:v>518.26272386942651</c:v>
                </c:pt>
                <c:pt idx="1010">
                  <c:v>520.16615183137185</c:v>
                </c:pt>
                <c:pt idx="1011">
                  <c:v>526.57385437191863</c:v>
                </c:pt>
                <c:pt idx="1012">
                  <c:v>515.41090398395136</c:v>
                </c:pt>
                <c:pt idx="1013">
                  <c:v>492.85334235492161</c:v>
                </c:pt>
                <c:pt idx="1014">
                  <c:v>479.42358092969181</c:v>
                </c:pt>
                <c:pt idx="1015">
                  <c:v>484.27391577248574</c:v>
                </c:pt>
                <c:pt idx="1016">
                  <c:v>486.07404327317386</c:v>
                </c:pt>
                <c:pt idx="1017">
                  <c:v>504.72386999855621</c:v>
                </c:pt>
                <c:pt idx="1018">
                  <c:v>510.47792314931496</c:v>
                </c:pt>
                <c:pt idx="1019">
                  <c:v>513.44989980909281</c:v>
                </c:pt>
                <c:pt idx="1020">
                  <c:v>506.25652614615836</c:v>
                </c:pt>
                <c:pt idx="1021">
                  <c:v>482.99339257723597</c:v>
                </c:pt>
                <c:pt idx="1022">
                  <c:v>474.32100661853809</c:v>
                </c:pt>
                <c:pt idx="1023">
                  <c:v>504.24971909057422</c:v>
                </c:pt>
                <c:pt idx="1024">
                  <c:v>527.90437327144116</c:v>
                </c:pt>
                <c:pt idx="1025">
                  <c:v>518.61229154887451</c:v>
                </c:pt>
                <c:pt idx="1026">
                  <c:v>522.45937152268868</c:v>
                </c:pt>
                <c:pt idx="1027">
                  <c:v>514.48131341666522</c:v>
                </c:pt>
                <c:pt idx="1028">
                  <c:v>506.82414371815207</c:v>
                </c:pt>
                <c:pt idx="1029">
                  <c:v>488.96781028525936</c:v>
                </c:pt>
                <c:pt idx="1030">
                  <c:v>537.97671495973134</c:v>
                </c:pt>
                <c:pt idx="1031">
                  <c:v>560.50049258834474</c:v>
                </c:pt>
                <c:pt idx="1032">
                  <c:v>576.37942452218704</c:v>
                </c:pt>
                <c:pt idx="1033">
                  <c:v>569.84788934941469</c:v>
                </c:pt>
                <c:pt idx="1034">
                  <c:v>555.76027427334748</c:v>
                </c:pt>
                <c:pt idx="1035">
                  <c:v>513.69451185671539</c:v>
                </c:pt>
                <c:pt idx="1036">
                  <c:v>498.45498448520999</c:v>
                </c:pt>
                <c:pt idx="1037">
                  <c:v>529.67033971637647</c:v>
                </c:pt>
                <c:pt idx="1038">
                  <c:v>544.48042408023719</c:v>
                </c:pt>
                <c:pt idx="1039">
                  <c:v>571.22003810407273</c:v>
                </c:pt>
                <c:pt idx="1040">
                  <c:v>584.49141169888765</c:v>
                </c:pt>
                <c:pt idx="1041">
                  <c:v>578.39145103114765</c:v>
                </c:pt>
                <c:pt idx="1042">
                  <c:v>572.47607913093918</c:v>
                </c:pt>
                <c:pt idx="1043">
                  <c:v>569.86481176393318</c:v>
                </c:pt>
                <c:pt idx="1044">
                  <c:v>586.80354700678117</c:v>
                </c:pt>
                <c:pt idx="1045">
                  <c:v>589.0727351042251</c:v>
                </c:pt>
                <c:pt idx="1046">
                  <c:v>601.10751448683072</c:v>
                </c:pt>
                <c:pt idx="1047">
                  <c:v>592.54850867710184</c:v>
                </c:pt>
                <c:pt idx="1048">
                  <c:v>591.0661477403072</c:v>
                </c:pt>
                <c:pt idx="1049">
                  <c:v>574.20401946969264</c:v>
                </c:pt>
                <c:pt idx="1050">
                  <c:v>582.8141319320174</c:v>
                </c:pt>
                <c:pt idx="1051">
                  <c:v>594.94582317728577</c:v>
                </c:pt>
                <c:pt idx="1052">
                  <c:v>600.27063147998251</c:v>
                </c:pt>
                <c:pt idx="1053">
                  <c:v>620.78135920766636</c:v>
                </c:pt>
                <c:pt idx="1054">
                  <c:v>599.72159689862826</c:v>
                </c:pt>
                <c:pt idx="1055">
                  <c:v>603.48874144808178</c:v>
                </c:pt>
                <c:pt idx="1056">
                  <c:v>613.39034153010471</c:v>
                </c:pt>
                <c:pt idx="1057">
                  <c:v>598.53686327493085</c:v>
                </c:pt>
                <c:pt idx="1058">
                  <c:v>607.55652271602855</c:v>
                </c:pt>
                <c:pt idx="1059">
                  <c:v>608.84580682648425</c:v>
                </c:pt>
                <c:pt idx="1060">
                  <c:v>605.12419144200328</c:v>
                </c:pt>
                <c:pt idx="1061">
                  <c:v>606.10080501170819</c:v>
                </c:pt>
                <c:pt idx="1062">
                  <c:v>602.97355984715227</c:v>
                </c:pt>
                <c:pt idx="1063">
                  <c:v>583.60541519359811</c:v>
                </c:pt>
                <c:pt idx="1064">
                  <c:v>593.76940147229561</c:v>
                </c:pt>
                <c:pt idx="1065">
                  <c:v>618.14881298457885</c:v>
                </c:pt>
                <c:pt idx="1066">
                  <c:v>634.64244532595103</c:v>
                </c:pt>
                <c:pt idx="1067">
                  <c:v>641.89281694704403</c:v>
                </c:pt>
                <c:pt idx="1068">
                  <c:v>640.64561221618976</c:v>
                </c:pt>
                <c:pt idx="1069">
                  <c:v>627.82581750772056</c:v>
                </c:pt>
                <c:pt idx="1070">
                  <c:v>608.27648302683394</c:v>
                </c:pt>
                <c:pt idx="1071">
                  <c:v>599.52553065711015</c:v>
                </c:pt>
                <c:pt idx="1072">
                  <c:v>621.63217856154142</c:v>
                </c:pt>
                <c:pt idx="1073">
                  <c:v>647.16784290061366</c:v>
                </c:pt>
                <c:pt idx="1074">
                  <c:v>608.78406227683365</c:v>
                </c:pt>
                <c:pt idx="1075">
                  <c:v>624.52392008501715</c:v>
                </c:pt>
                <c:pt idx="1076">
                  <c:v>617.28472091097615</c:v>
                </c:pt>
                <c:pt idx="1077">
                  <c:v>610.5525614527611</c:v>
                </c:pt>
                <c:pt idx="1078">
                  <c:v>585.26657531911803</c:v>
                </c:pt>
                <c:pt idx="1079">
                  <c:v>597.15463136758012</c:v>
                </c:pt>
                <c:pt idx="1080">
                  <c:v>587.74290608137301</c:v>
                </c:pt>
                <c:pt idx="1081">
                  <c:v>575.12883523663402</c:v>
                </c:pt>
                <c:pt idx="1082">
                  <c:v>574.60382878273799</c:v>
                </c:pt>
                <c:pt idx="1083">
                  <c:v>576.18344640259022</c:v>
                </c:pt>
                <c:pt idx="1084">
                  <c:v>571.60517753136344</c:v>
                </c:pt>
                <c:pt idx="1085">
                  <c:v>561.78063536427965</c:v>
                </c:pt>
                <c:pt idx="1086">
                  <c:v>561.5080263736096</c:v>
                </c:pt>
                <c:pt idx="1087">
                  <c:v>578.60299127943688</c:v>
                </c:pt>
                <c:pt idx="1088">
                  <c:v>570.34326571865518</c:v>
                </c:pt>
                <c:pt idx="1089">
                  <c:v>572.79440018046853</c:v>
                </c:pt>
                <c:pt idx="1090">
                  <c:v>586.51589612053999</c:v>
                </c:pt>
                <c:pt idx="1091">
                  <c:v>586.97188135640147</c:v>
                </c:pt>
                <c:pt idx="1092">
                  <c:v>588.7799500611369</c:v>
                </c:pt>
                <c:pt idx="1093">
                  <c:v>586.59043778179205</c:v>
                </c:pt>
                <c:pt idx="1094">
                  <c:v>573.54132230089556</c:v>
                </c:pt>
                <c:pt idx="1095">
                  <c:v>384.69145508940085</c:v>
                </c:pt>
                <c:pt idx="1096">
                  <c:v>397.2000076766883</c:v>
                </c:pt>
                <c:pt idx="1097">
                  <c:v>408.65081765442892</c:v>
                </c:pt>
                <c:pt idx="1098">
                  <c:v>391.94927886328293</c:v>
                </c:pt>
                <c:pt idx="1099">
                  <c:v>395.66297608805536</c:v>
                </c:pt>
                <c:pt idx="1100">
                  <c:v>408.95308927524235</c:v>
                </c:pt>
                <c:pt idx="1101">
                  <c:v>440.17559279964598</c:v>
                </c:pt>
                <c:pt idx="1102">
                  <c:v>446.17413215950342</c:v>
                </c:pt>
                <c:pt idx="1103">
                  <c:v>454.66739230618049</c:v>
                </c:pt>
                <c:pt idx="1104">
                  <c:v>463.44046194502789</c:v>
                </c:pt>
                <c:pt idx="1105">
                  <c:v>432.36760980264881</c:v>
                </c:pt>
                <c:pt idx="1106">
                  <c:v>423.88419626214801</c:v>
                </c:pt>
                <c:pt idx="1107">
                  <c:v>485.12104606400737</c:v>
                </c:pt>
                <c:pt idx="1108">
                  <c:v>483.42345503106253</c:v>
                </c:pt>
                <c:pt idx="1109">
                  <c:v>459.51727801650384</c:v>
                </c:pt>
                <c:pt idx="1110">
                  <c:v>464.96668107182535</c:v>
                </c:pt>
                <c:pt idx="1111">
                  <c:v>447.85559159445296</c:v>
                </c:pt>
                <c:pt idx="1112">
                  <c:v>413.40791786954713</c:v>
                </c:pt>
                <c:pt idx="1113">
                  <c:v>406.99321392957904</c:v>
                </c:pt>
                <c:pt idx="1114">
                  <c:v>454.57493349548599</c:v>
                </c:pt>
                <c:pt idx="1115">
                  <c:v>479.52301598099223</c:v>
                </c:pt>
                <c:pt idx="1116">
                  <c:v>483.80046426947848</c:v>
                </c:pt>
                <c:pt idx="1117">
                  <c:v>474.43628416578298</c:v>
                </c:pt>
                <c:pt idx="1118">
                  <c:v>456.97293540737633</c:v>
                </c:pt>
                <c:pt idx="1119">
                  <c:v>419.31684923118473</c:v>
                </c:pt>
                <c:pt idx="1120">
                  <c:v>412.06640578408121</c:v>
                </c:pt>
                <c:pt idx="1121">
                  <c:v>427.97781543058579</c:v>
                </c:pt>
                <c:pt idx="1122">
                  <c:v>400.26270492521519</c:v>
                </c:pt>
                <c:pt idx="1123">
                  <c:v>391.74324778222837</c:v>
                </c:pt>
                <c:pt idx="1124">
                  <c:v>374.09052378016304</c:v>
                </c:pt>
                <c:pt idx="1125">
                  <c:v>354.05587742920801</c:v>
                </c:pt>
                <c:pt idx="1126">
                  <c:v>414.17737440725097</c:v>
                </c:pt>
                <c:pt idx="1127">
                  <c:v>406.79147426570194</c:v>
                </c:pt>
                <c:pt idx="1128">
                  <c:v>429.63015603745447</c:v>
                </c:pt>
                <c:pt idx="1129">
                  <c:v>447.50253731092084</c:v>
                </c:pt>
                <c:pt idx="1130">
                  <c:v>471.19790067207481</c:v>
                </c:pt>
                <c:pt idx="1131">
                  <c:v>448.36336281469153</c:v>
                </c:pt>
                <c:pt idx="1132">
                  <c:v>464.9385049355937</c:v>
                </c:pt>
                <c:pt idx="1133">
                  <c:v>448.63113329354087</c:v>
                </c:pt>
                <c:pt idx="1134">
                  <c:v>432.67437359715177</c:v>
                </c:pt>
                <c:pt idx="1135">
                  <c:v>436.36694559293738</c:v>
                </c:pt>
                <c:pt idx="1136">
                  <c:v>438.95615895961089</c:v>
                </c:pt>
                <c:pt idx="1137">
                  <c:v>445.55120221940302</c:v>
                </c:pt>
                <c:pt idx="1138">
                  <c:v>459.07070391086523</c:v>
                </c:pt>
                <c:pt idx="1139">
                  <c:v>429.98995760679043</c:v>
                </c:pt>
                <c:pt idx="1140">
                  <c:v>434.44551319273779</c:v>
                </c:pt>
                <c:pt idx="1141">
                  <c:v>426.08180326418307</c:v>
                </c:pt>
                <c:pt idx="1142">
                  <c:v>439.31601626196266</c:v>
                </c:pt>
                <c:pt idx="1143">
                  <c:v>449.17713259697422</c:v>
                </c:pt>
                <c:pt idx="1144">
                  <c:v>460.12188461296512</c:v>
                </c:pt>
                <c:pt idx="1145">
                  <c:v>457.67558593434586</c:v>
                </c:pt>
                <c:pt idx="1146">
                  <c:v>462.09264283552557</c:v>
                </c:pt>
                <c:pt idx="1147">
                  <c:v>457.77506254242263</c:v>
                </c:pt>
                <c:pt idx="1148">
                  <c:v>448.73007415384615</c:v>
                </c:pt>
                <c:pt idx="1149">
                  <c:v>452.06727548850125</c:v>
                </c:pt>
                <c:pt idx="1150">
                  <c:v>452.19008205851492</c:v>
                </c:pt>
                <c:pt idx="1151">
                  <c:v>437.39608636087939</c:v>
                </c:pt>
                <c:pt idx="1152">
                  <c:v>459.37610924836804</c:v>
                </c:pt>
                <c:pt idx="1153">
                  <c:v>461.27588362470703</c:v>
                </c:pt>
                <c:pt idx="1154">
                  <c:v>460.27363498011238</c:v>
                </c:pt>
                <c:pt idx="1155">
                  <c:v>421.45016081560499</c:v>
                </c:pt>
                <c:pt idx="1156">
                  <c:v>422.28454214496435</c:v>
                </c:pt>
                <c:pt idx="1157">
                  <c:v>437.01951997954342</c:v>
                </c:pt>
                <c:pt idx="1158">
                  <c:v>441.8914529802434</c:v>
                </c:pt>
                <c:pt idx="1159">
                  <c:v>439.17673923244956</c:v>
                </c:pt>
                <c:pt idx="1160">
                  <c:v>436.72991310931434</c:v>
                </c:pt>
                <c:pt idx="1161">
                  <c:v>433.64259000370311</c:v>
                </c:pt>
                <c:pt idx="1162">
                  <c:v>434.35159696028677</c:v>
                </c:pt>
                <c:pt idx="1163">
                  <c:v>444.78435824229075</c:v>
                </c:pt>
                <c:pt idx="1164">
                  <c:v>444.42888697339373</c:v>
                </c:pt>
                <c:pt idx="1165">
                  <c:v>444.56022757421562</c:v>
                </c:pt>
                <c:pt idx="1166">
                  <c:v>430.83997844335192</c:v>
                </c:pt>
                <c:pt idx="1167">
                  <c:v>429.81000018992466</c:v>
                </c:pt>
                <c:pt idx="1168">
                  <c:v>431.18453804241739</c:v>
                </c:pt>
                <c:pt idx="1169">
                  <c:v>435.82466192962255</c:v>
                </c:pt>
                <c:pt idx="1170">
                  <c:v>439.94640410460119</c:v>
                </c:pt>
                <c:pt idx="1171">
                  <c:v>439.48188954971221</c:v>
                </c:pt>
                <c:pt idx="1172">
                  <c:v>433.5430034579191</c:v>
                </c:pt>
                <c:pt idx="1173">
                  <c:v>387.95131507227677</c:v>
                </c:pt>
                <c:pt idx="1174">
                  <c:v>420.97361720752957</c:v>
                </c:pt>
                <c:pt idx="1175">
                  <c:v>422.3087257126291</c:v>
                </c:pt>
                <c:pt idx="1176">
                  <c:v>425.6229622043366</c:v>
                </c:pt>
                <c:pt idx="1177">
                  <c:v>432.12413314192798</c:v>
                </c:pt>
                <c:pt idx="1178">
                  <c:v>432.97238292010263</c:v>
                </c:pt>
                <c:pt idx="1179">
                  <c:v>431.71557075380122</c:v>
                </c:pt>
                <c:pt idx="1180">
                  <c:v>430.79992905593929</c:v>
                </c:pt>
                <c:pt idx="1181">
                  <c:v>422.06832945983626</c:v>
                </c:pt>
                <c:pt idx="1182">
                  <c:v>397.00458752275216</c:v>
                </c:pt>
                <c:pt idx="1183">
                  <c:v>424.2046326853519</c:v>
                </c:pt>
                <c:pt idx="1184">
                  <c:v>410.88962528057607</c:v>
                </c:pt>
                <c:pt idx="1185">
                  <c:v>421.69881162507551</c:v>
                </c:pt>
                <c:pt idx="1186">
                  <c:v>439.21944742201117</c:v>
                </c:pt>
                <c:pt idx="1187">
                  <c:v>467.51524589277841</c:v>
                </c:pt>
                <c:pt idx="1188">
                  <c:v>443.34423419996091</c:v>
                </c:pt>
                <c:pt idx="1189">
                  <c:v>452.65099962817811</c:v>
                </c:pt>
                <c:pt idx="1190">
                  <c:v>441.70642978567065</c:v>
                </c:pt>
                <c:pt idx="1191">
                  <c:v>453.94658206966864</c:v>
                </c:pt>
                <c:pt idx="1192">
                  <c:v>463.43377713766955</c:v>
                </c:pt>
                <c:pt idx="1193">
                  <c:v>446.50852099852102</c:v>
                </c:pt>
                <c:pt idx="1194">
                  <c:v>446.47184868246836</c:v>
                </c:pt>
                <c:pt idx="1195">
                  <c:v>416.88060880119917</c:v>
                </c:pt>
                <c:pt idx="1196">
                  <c:v>427.78681403718645</c:v>
                </c:pt>
                <c:pt idx="1197">
                  <c:v>424.59841264782597</c:v>
                </c:pt>
                <c:pt idx="1198">
                  <c:v>426.36992215697353</c:v>
                </c:pt>
                <c:pt idx="1199">
                  <c:v>451.69518942616679</c:v>
                </c:pt>
                <c:pt idx="1200">
                  <c:v>452.65148409725742</c:v>
                </c:pt>
                <c:pt idx="1201">
                  <c:v>452.44116926276354</c:v>
                </c:pt>
                <c:pt idx="1202">
                  <c:v>429.92634932977933</c:v>
                </c:pt>
                <c:pt idx="1203">
                  <c:v>437.65329338576743</c:v>
                </c:pt>
                <c:pt idx="1204">
                  <c:v>434.45392303763776</c:v>
                </c:pt>
                <c:pt idx="1205">
                  <c:v>433.90428454454121</c:v>
                </c:pt>
                <c:pt idx="1206">
                  <c:v>441.60499825216209</c:v>
                </c:pt>
                <c:pt idx="1207">
                  <c:v>442.41852071591194</c:v>
                </c:pt>
                <c:pt idx="1208">
                  <c:v>430.23514036817363</c:v>
                </c:pt>
                <c:pt idx="1209">
                  <c:v>417.851496664102</c:v>
                </c:pt>
                <c:pt idx="1210">
                  <c:v>414.87184078932739</c:v>
                </c:pt>
                <c:pt idx="1211">
                  <c:v>428.72116971375038</c:v>
                </c:pt>
                <c:pt idx="1212">
                  <c:v>424.07395054957436</c:v>
                </c:pt>
                <c:pt idx="1213">
                  <c:v>433.62881829763103</c:v>
                </c:pt>
                <c:pt idx="1214">
                  <c:v>435.38567897068071</c:v>
                </c:pt>
                <c:pt idx="1215">
                  <c:v>443.32977322236411</c:v>
                </c:pt>
                <c:pt idx="1216">
                  <c:v>437.00804724448847</c:v>
                </c:pt>
                <c:pt idx="1217">
                  <c:v>440.29386007347131</c:v>
                </c:pt>
                <c:pt idx="1218">
                  <c:v>441.11518673562455</c:v>
                </c:pt>
                <c:pt idx="1219">
                  <c:v>446.34361064951867</c:v>
                </c:pt>
                <c:pt idx="1220">
                  <c:v>450.59847155172957</c:v>
                </c:pt>
                <c:pt idx="1221">
                  <c:v>438.78033045366948</c:v>
                </c:pt>
                <c:pt idx="1222">
                  <c:v>454.24130930515201</c:v>
                </c:pt>
                <c:pt idx="1223">
                  <c:v>454.56016272817959</c:v>
                </c:pt>
                <c:pt idx="1224">
                  <c:v>449.45337031307065</c:v>
                </c:pt>
                <c:pt idx="1225">
                  <c:v>450.95354176557618</c:v>
                </c:pt>
                <c:pt idx="1226">
                  <c:v>457.24970216873254</c:v>
                </c:pt>
                <c:pt idx="1227">
                  <c:v>458.35236349202751</c:v>
                </c:pt>
                <c:pt idx="1228">
                  <c:v>460.43877782027027</c:v>
                </c:pt>
                <c:pt idx="1229">
                  <c:v>449.59274265658064</c:v>
                </c:pt>
                <c:pt idx="1230">
                  <c:v>446.65052158575446</c:v>
                </c:pt>
                <c:pt idx="1231">
                  <c:v>414.59474115410677</c:v>
                </c:pt>
                <c:pt idx="1232">
                  <c:v>427.93825209027278</c:v>
                </c:pt>
                <c:pt idx="1233">
                  <c:v>437.65965037407796</c:v>
                </c:pt>
                <c:pt idx="1234">
                  <c:v>458.73076320878965</c:v>
                </c:pt>
                <c:pt idx="1235">
                  <c:v>445.51770139566236</c:v>
                </c:pt>
                <c:pt idx="1236">
                  <c:v>420.70035683027942</c:v>
                </c:pt>
                <c:pt idx="1237">
                  <c:v>442.28791034993213</c:v>
                </c:pt>
                <c:pt idx="1238">
                  <c:v>385.36835498511141</c:v>
                </c:pt>
                <c:pt idx="1239">
                  <c:v>369.22652750482416</c:v>
                </c:pt>
                <c:pt idx="1240">
                  <c:v>384.70996138374318</c:v>
                </c:pt>
                <c:pt idx="1241">
                  <c:v>380.48298616251162</c:v>
                </c:pt>
                <c:pt idx="1242">
                  <c:v>395.49985315880735</c:v>
                </c:pt>
                <c:pt idx="1243">
                  <c:v>384.11131749662189</c:v>
                </c:pt>
                <c:pt idx="1244">
                  <c:v>367.51632205679277</c:v>
                </c:pt>
                <c:pt idx="1245">
                  <c:v>367.54098116847121</c:v>
                </c:pt>
                <c:pt idx="1246">
                  <c:v>355.6959730632862</c:v>
                </c:pt>
                <c:pt idx="1247">
                  <c:v>436.280038740436</c:v>
                </c:pt>
                <c:pt idx="1248">
                  <c:v>439.89159933020505</c:v>
                </c:pt>
                <c:pt idx="1249">
                  <c:v>437.61526212558215</c:v>
                </c:pt>
                <c:pt idx="1250">
                  <c:v>454.81772732414902</c:v>
                </c:pt>
                <c:pt idx="1251">
                  <c:v>453.51668511759084</c:v>
                </c:pt>
                <c:pt idx="1252">
                  <c:v>441.66656973066443</c:v>
                </c:pt>
                <c:pt idx="1253">
                  <c:v>451.84194389733454</c:v>
                </c:pt>
                <c:pt idx="1254">
                  <c:v>452.65543902660818</c:v>
                </c:pt>
                <c:pt idx="1255">
                  <c:v>438.2428864511981</c:v>
                </c:pt>
                <c:pt idx="1256">
                  <c:v>453.49361849871269</c:v>
                </c:pt>
                <c:pt idx="1257">
                  <c:v>452.97080445440628</c:v>
                </c:pt>
                <c:pt idx="1258">
                  <c:v>449.9246642370104</c:v>
                </c:pt>
                <c:pt idx="1259">
                  <c:v>452.52892868430547</c:v>
                </c:pt>
                <c:pt idx="1260">
                  <c:v>452.68314265147944</c:v>
                </c:pt>
                <c:pt idx="1261">
                  <c:v>451.44085817387651</c:v>
                </c:pt>
                <c:pt idx="1262">
                  <c:v>429.15363897930882</c:v>
                </c:pt>
                <c:pt idx="1263">
                  <c:v>430.24008653489784</c:v>
                </c:pt>
                <c:pt idx="1264">
                  <c:v>447.30120941742609</c:v>
                </c:pt>
                <c:pt idx="1265">
                  <c:v>448.75305483238282</c:v>
                </c:pt>
                <c:pt idx="1266">
                  <c:v>443.17205946661193</c:v>
                </c:pt>
                <c:pt idx="1267">
                  <c:v>431.8582016416604</c:v>
                </c:pt>
                <c:pt idx="1268">
                  <c:v>455.17216388872708</c:v>
                </c:pt>
                <c:pt idx="1269">
                  <c:v>459.85604906282691</c:v>
                </c:pt>
                <c:pt idx="1270">
                  <c:v>452.42573455111511</c:v>
                </c:pt>
                <c:pt idx="1271">
                  <c:v>451.5922629667719</c:v>
                </c:pt>
                <c:pt idx="1272">
                  <c:v>451.5627306455911</c:v>
                </c:pt>
                <c:pt idx="1273">
                  <c:v>450.83311644988453</c:v>
                </c:pt>
                <c:pt idx="1274">
                  <c:v>435.52876434034266</c:v>
                </c:pt>
                <c:pt idx="1275">
                  <c:v>462.85576745637786</c:v>
                </c:pt>
                <c:pt idx="1276">
                  <c:v>465.71298077868641</c:v>
                </c:pt>
                <c:pt idx="1277">
                  <c:v>446.80136072813326</c:v>
                </c:pt>
                <c:pt idx="1278">
                  <c:v>468.21821568996529</c:v>
                </c:pt>
                <c:pt idx="1279">
                  <c:v>468.60084104855383</c:v>
                </c:pt>
                <c:pt idx="1280">
                  <c:v>449.36875076981556</c:v>
                </c:pt>
                <c:pt idx="1281">
                  <c:v>449.69236372260127</c:v>
                </c:pt>
                <c:pt idx="1282">
                  <c:v>376.0432638148946</c:v>
                </c:pt>
                <c:pt idx="1283">
                  <c:v>388.66537512861782</c:v>
                </c:pt>
                <c:pt idx="1284">
                  <c:v>371.59055711136648</c:v>
                </c:pt>
                <c:pt idx="1285">
                  <c:v>389.17447105779024</c:v>
                </c:pt>
                <c:pt idx="1286">
                  <c:v>402.23878141490468</c:v>
                </c:pt>
                <c:pt idx="1287">
                  <c:v>463.59293401190342</c:v>
                </c:pt>
                <c:pt idx="1288">
                  <c:v>451.22461115850945</c:v>
                </c:pt>
                <c:pt idx="1289">
                  <c:v>462.99282230518247</c:v>
                </c:pt>
                <c:pt idx="1290">
                  <c:v>313.16127333172744</c:v>
                </c:pt>
                <c:pt idx="1291">
                  <c:v>320.99569699584958</c:v>
                </c:pt>
                <c:pt idx="1292">
                  <c:v>319.34008058363588</c:v>
                </c:pt>
                <c:pt idx="1293">
                  <c:v>316.41061684317782</c:v>
                </c:pt>
                <c:pt idx="1294">
                  <c:v>298.62226951493358</c:v>
                </c:pt>
                <c:pt idx="1295">
                  <c:v>282.27988592714735</c:v>
                </c:pt>
                <c:pt idx="1296">
                  <c:v>299.20083821722369</c:v>
                </c:pt>
                <c:pt idx="1297">
                  <c:v>301.28587829355951</c:v>
                </c:pt>
                <c:pt idx="1298">
                  <c:v>303.16827142333057</c:v>
                </c:pt>
                <c:pt idx="1299">
                  <c:v>305.13140310271979</c:v>
                </c:pt>
                <c:pt idx="1300">
                  <c:v>298.06479451797276</c:v>
                </c:pt>
                <c:pt idx="1301">
                  <c:v>295.89983440042977</c:v>
                </c:pt>
                <c:pt idx="1302">
                  <c:v>447.63039352545269</c:v>
                </c:pt>
                <c:pt idx="1303">
                  <c:v>458.78732688526526</c:v>
                </c:pt>
                <c:pt idx="1304">
                  <c:v>455.46009402660337</c:v>
                </c:pt>
                <c:pt idx="1305">
                  <c:v>465.65428412082491</c:v>
                </c:pt>
                <c:pt idx="1306">
                  <c:v>451.14516716575042</c:v>
                </c:pt>
                <c:pt idx="1307">
                  <c:v>444.39082934176298</c:v>
                </c:pt>
                <c:pt idx="1308">
                  <c:v>418.09560272110326</c:v>
                </c:pt>
                <c:pt idx="1309">
                  <c:v>446.10719625036955</c:v>
                </c:pt>
                <c:pt idx="1310">
                  <c:v>460.61959967039297</c:v>
                </c:pt>
                <c:pt idx="1311">
                  <c:v>467.91297472785806</c:v>
                </c:pt>
                <c:pt idx="1312">
                  <c:v>466.41242861228238</c:v>
                </c:pt>
                <c:pt idx="1313">
                  <c:v>467.01622422831423</c:v>
                </c:pt>
                <c:pt idx="1314">
                  <c:v>471.77592148417699</c:v>
                </c:pt>
                <c:pt idx="1315">
                  <c:v>468.44578012935847</c:v>
                </c:pt>
                <c:pt idx="1316">
                  <c:v>461.80021682423711</c:v>
                </c:pt>
                <c:pt idx="1317">
                  <c:v>465.83919292263954</c:v>
                </c:pt>
                <c:pt idx="1318">
                  <c:v>447.46048986787696</c:v>
                </c:pt>
                <c:pt idx="1319">
                  <c:v>448.49451897695633</c:v>
                </c:pt>
                <c:pt idx="1320">
                  <c:v>449.29827366288657</c:v>
                </c:pt>
                <c:pt idx="1321">
                  <c:v>458.23086162905167</c:v>
                </c:pt>
                <c:pt idx="1322">
                  <c:v>464.60952028066077</c:v>
                </c:pt>
                <c:pt idx="1323">
                  <c:v>447.35449996110651</c:v>
                </c:pt>
                <c:pt idx="1324">
                  <c:v>464.05947610003136</c:v>
                </c:pt>
                <c:pt idx="1325">
                  <c:v>448.65654647736505</c:v>
                </c:pt>
                <c:pt idx="1326">
                  <c:v>468.72699437145616</c:v>
                </c:pt>
                <c:pt idx="1327">
                  <c:v>468.26439255360589</c:v>
                </c:pt>
                <c:pt idx="1328">
                  <c:v>463.96088761790389</c:v>
                </c:pt>
                <c:pt idx="1329">
                  <c:v>467.2411808127203</c:v>
                </c:pt>
                <c:pt idx="1330">
                  <c:v>466.43259235364872</c:v>
                </c:pt>
                <c:pt idx="1331">
                  <c:v>469.30655431635955</c:v>
                </c:pt>
                <c:pt idx="1332">
                  <c:v>467.46265299686536</c:v>
                </c:pt>
                <c:pt idx="1333">
                  <c:v>465.10835723062121</c:v>
                </c:pt>
                <c:pt idx="1334">
                  <c:v>466.1566143342734</c:v>
                </c:pt>
                <c:pt idx="1335">
                  <c:v>467.92925492230978</c:v>
                </c:pt>
                <c:pt idx="1336">
                  <c:v>467.00560879562545</c:v>
                </c:pt>
                <c:pt idx="1337">
                  <c:v>465.8617804535379</c:v>
                </c:pt>
                <c:pt idx="1338">
                  <c:v>467.39454191300217</c:v>
                </c:pt>
                <c:pt idx="1339">
                  <c:v>457.50095882799047</c:v>
                </c:pt>
                <c:pt idx="1340">
                  <c:v>461.98674022239527</c:v>
                </c:pt>
                <c:pt idx="1341">
                  <c:v>465.19581494156785</c:v>
                </c:pt>
                <c:pt idx="1342">
                  <c:v>464.08132359799765</c:v>
                </c:pt>
                <c:pt idx="1343">
                  <c:v>461.55529511981064</c:v>
                </c:pt>
                <c:pt idx="1344">
                  <c:v>461.3370098363003</c:v>
                </c:pt>
                <c:pt idx="1345">
                  <c:v>446.8302035981514</c:v>
                </c:pt>
                <c:pt idx="1346">
                  <c:v>463.07118438108671</c:v>
                </c:pt>
                <c:pt idx="1347">
                  <c:v>469.98037383079213</c:v>
                </c:pt>
                <c:pt idx="1348">
                  <c:v>465.57636618323096</c:v>
                </c:pt>
                <c:pt idx="1349">
                  <c:v>453.76890593014735</c:v>
                </c:pt>
                <c:pt idx="1350">
                  <c:v>464.47066705844566</c:v>
                </c:pt>
                <c:pt idx="1351">
                  <c:v>463.31766760060782</c:v>
                </c:pt>
                <c:pt idx="1352">
                  <c:v>464.99819389023423</c:v>
                </c:pt>
                <c:pt idx="1353">
                  <c:v>450.18084224076176</c:v>
                </c:pt>
                <c:pt idx="1354">
                  <c:v>451.52454744146644</c:v>
                </c:pt>
                <c:pt idx="1355">
                  <c:v>468.37841063005095</c:v>
                </c:pt>
                <c:pt idx="1356">
                  <c:v>469.49237925940065</c:v>
                </c:pt>
                <c:pt idx="1357">
                  <c:v>467.0195909747851</c:v>
                </c:pt>
                <c:pt idx="1358">
                  <c:v>465.9177167721337</c:v>
                </c:pt>
                <c:pt idx="1359">
                  <c:v>468.12311365372295</c:v>
                </c:pt>
                <c:pt idx="1360">
                  <c:v>478.68319369635537</c:v>
                </c:pt>
                <c:pt idx="1361">
                  <c:v>480.18810187636728</c:v>
                </c:pt>
                <c:pt idx="1362">
                  <c:v>463.56199891655285</c:v>
                </c:pt>
                <c:pt idx="1363">
                  <c:v>481.23075615504695</c:v>
                </c:pt>
                <c:pt idx="1364">
                  <c:v>479.99160794006008</c:v>
                </c:pt>
                <c:pt idx="1365">
                  <c:v>476.69982979303904</c:v>
                </c:pt>
                <c:pt idx="1366">
                  <c:v>499.09077646971059</c:v>
                </c:pt>
                <c:pt idx="1367">
                  <c:v>508.37933863915583</c:v>
                </c:pt>
                <c:pt idx="1368">
                  <c:v>440.2499654817039</c:v>
                </c:pt>
                <c:pt idx="1369">
                  <c:v>546.58025052578478</c:v>
                </c:pt>
                <c:pt idx="1370">
                  <c:v>538.81624489246815</c:v>
                </c:pt>
                <c:pt idx="1371">
                  <c:v>529.32049648472037</c:v>
                </c:pt>
                <c:pt idx="1372">
                  <c:v>526.41682758617583</c:v>
                </c:pt>
                <c:pt idx="1373">
                  <c:v>536.43879410591376</c:v>
                </c:pt>
                <c:pt idx="1374">
                  <c:v>543.08176483753937</c:v>
                </c:pt>
                <c:pt idx="1375">
                  <c:v>526.02444263634686</c:v>
                </c:pt>
                <c:pt idx="1376">
                  <c:v>543.52393466425713</c:v>
                </c:pt>
                <c:pt idx="1377">
                  <c:v>543.98235168968688</c:v>
                </c:pt>
                <c:pt idx="1378">
                  <c:v>540.61459730522972</c:v>
                </c:pt>
                <c:pt idx="1379">
                  <c:v>539.61653916776629</c:v>
                </c:pt>
                <c:pt idx="1380">
                  <c:v>544.71518870776686</c:v>
                </c:pt>
                <c:pt idx="1381">
                  <c:v>504.54614718240475</c:v>
                </c:pt>
                <c:pt idx="1382">
                  <c:v>509.89954822662594</c:v>
                </c:pt>
                <c:pt idx="1383">
                  <c:v>534.77268231465462</c:v>
                </c:pt>
                <c:pt idx="1384">
                  <c:v>540.78668228426272</c:v>
                </c:pt>
                <c:pt idx="1385">
                  <c:v>541.8761563858875</c:v>
                </c:pt>
                <c:pt idx="1386">
                  <c:v>541.65033515408948</c:v>
                </c:pt>
                <c:pt idx="1387">
                  <c:v>544.26241384865227</c:v>
                </c:pt>
                <c:pt idx="1388">
                  <c:v>546.89707618465866</c:v>
                </c:pt>
                <c:pt idx="1389">
                  <c:v>552.98679476964332</c:v>
                </c:pt>
                <c:pt idx="1390">
                  <c:v>552.26773906387518</c:v>
                </c:pt>
                <c:pt idx="1391">
                  <c:v>554.12565941808305</c:v>
                </c:pt>
                <c:pt idx="1392">
                  <c:v>562.67463156100723</c:v>
                </c:pt>
                <c:pt idx="1393">
                  <c:v>534.21325762769038</c:v>
                </c:pt>
                <c:pt idx="1394">
                  <c:v>554.32398265189909</c:v>
                </c:pt>
                <c:pt idx="1395">
                  <c:v>542.06350956578046</c:v>
                </c:pt>
                <c:pt idx="1396">
                  <c:v>541.10309903127575</c:v>
                </c:pt>
                <c:pt idx="1397">
                  <c:v>546.98122354937311</c:v>
                </c:pt>
                <c:pt idx="1398">
                  <c:v>547.95842126775074</c:v>
                </c:pt>
                <c:pt idx="1399">
                  <c:v>547.62976001432185</c:v>
                </c:pt>
                <c:pt idx="1400">
                  <c:v>564.06634990942928</c:v>
                </c:pt>
                <c:pt idx="1401">
                  <c:v>566.98797826213661</c:v>
                </c:pt>
                <c:pt idx="1402">
                  <c:v>556.36385388936094</c:v>
                </c:pt>
                <c:pt idx="1403">
                  <c:v>570.75887785698217</c:v>
                </c:pt>
                <c:pt idx="1404">
                  <c:v>557.91168889668995</c:v>
                </c:pt>
                <c:pt idx="1405">
                  <c:v>567.1956188931407</c:v>
                </c:pt>
                <c:pt idx="1406">
                  <c:v>553.45999764967496</c:v>
                </c:pt>
                <c:pt idx="1407">
                  <c:v>539.35402462678542</c:v>
                </c:pt>
                <c:pt idx="1408">
                  <c:v>567.36687731621737</c:v>
                </c:pt>
                <c:pt idx="1409">
                  <c:v>570.15716341821087</c:v>
                </c:pt>
                <c:pt idx="1410">
                  <c:v>575.86845325036415</c:v>
                </c:pt>
                <c:pt idx="1411">
                  <c:v>575.13709721154362</c:v>
                </c:pt>
                <c:pt idx="1412">
                  <c:v>551.89966092153998</c:v>
                </c:pt>
                <c:pt idx="1413">
                  <c:v>570.79547402614526</c:v>
                </c:pt>
                <c:pt idx="1414">
                  <c:v>571.27492490212842</c:v>
                </c:pt>
                <c:pt idx="1415">
                  <c:v>574.88365708972481</c:v>
                </c:pt>
                <c:pt idx="1416">
                  <c:v>575.34274880631096</c:v>
                </c:pt>
                <c:pt idx="1417">
                  <c:v>569.47270448035965</c:v>
                </c:pt>
                <c:pt idx="1418">
                  <c:v>576.55338992742691</c:v>
                </c:pt>
                <c:pt idx="1419">
                  <c:v>573.26669742421666</c:v>
                </c:pt>
                <c:pt idx="1420">
                  <c:v>576.67259337658447</c:v>
                </c:pt>
                <c:pt idx="1421">
                  <c:v>572.0660998668111</c:v>
                </c:pt>
                <c:pt idx="1422">
                  <c:v>578.41024159331812</c:v>
                </c:pt>
                <c:pt idx="1423">
                  <c:v>557.51284820154865</c:v>
                </c:pt>
                <c:pt idx="1424">
                  <c:v>579.59664097332484</c:v>
                </c:pt>
                <c:pt idx="1425">
                  <c:v>579.31420717160825</c:v>
                </c:pt>
                <c:pt idx="1426">
                  <c:v>581.30246375266063</c:v>
                </c:pt>
                <c:pt idx="1427">
                  <c:v>575.2365302887473</c:v>
                </c:pt>
                <c:pt idx="1428">
                  <c:v>574.55718840553016</c:v>
                </c:pt>
                <c:pt idx="1429">
                  <c:v>554.0951309761615</c:v>
                </c:pt>
                <c:pt idx="1430">
                  <c:v>590.83194994671544</c:v>
                </c:pt>
                <c:pt idx="1431">
                  <c:v>565.2404840788297</c:v>
                </c:pt>
                <c:pt idx="1432">
                  <c:v>587.55289785932109</c:v>
                </c:pt>
                <c:pt idx="1433">
                  <c:v>565.23177917785131</c:v>
                </c:pt>
                <c:pt idx="1434">
                  <c:v>587.12765571193972</c:v>
                </c:pt>
                <c:pt idx="1435">
                  <c:v>563.00809369759747</c:v>
                </c:pt>
                <c:pt idx="1436">
                  <c:v>591.80281180190229</c:v>
                </c:pt>
                <c:pt idx="1437">
                  <c:v>595.85372985855815</c:v>
                </c:pt>
                <c:pt idx="1438">
                  <c:v>594.78782925763846</c:v>
                </c:pt>
                <c:pt idx="1439">
                  <c:v>593.10830851329729</c:v>
                </c:pt>
                <c:pt idx="1440">
                  <c:v>594.46121483102388</c:v>
                </c:pt>
                <c:pt idx="1441">
                  <c:v>590.06168840620626</c:v>
                </c:pt>
                <c:pt idx="1442">
                  <c:v>593.98605090032004</c:v>
                </c:pt>
                <c:pt idx="1443">
                  <c:v>596.9191959007602</c:v>
                </c:pt>
                <c:pt idx="1444">
                  <c:v>597.02966286729293</c:v>
                </c:pt>
                <c:pt idx="1445">
                  <c:v>597.68825606574239</c:v>
                </c:pt>
                <c:pt idx="1446">
                  <c:v>598.89434335245812</c:v>
                </c:pt>
                <c:pt idx="1447">
                  <c:v>573.61384355961161</c:v>
                </c:pt>
                <c:pt idx="1448">
                  <c:v>592.52583921288226</c:v>
                </c:pt>
                <c:pt idx="1449">
                  <c:v>594.2168015675428</c:v>
                </c:pt>
                <c:pt idx="1450">
                  <c:v>597.67604005113765</c:v>
                </c:pt>
                <c:pt idx="1451">
                  <c:v>595.77875536498379</c:v>
                </c:pt>
                <c:pt idx="1452">
                  <c:v>595.88696057477114</c:v>
                </c:pt>
                <c:pt idx="1453">
                  <c:v>595.10688457984065</c:v>
                </c:pt>
                <c:pt idx="1454">
                  <c:v>591.84889573364012</c:v>
                </c:pt>
                <c:pt idx="1455">
                  <c:v>591.53781707366113</c:v>
                </c:pt>
                <c:pt idx="1456">
                  <c:v>589.86981605745632</c:v>
                </c:pt>
                <c:pt idx="1457">
                  <c:v>592.22855997979013</c:v>
                </c:pt>
                <c:pt idx="1458">
                  <c:v>591.59760564228293</c:v>
                </c:pt>
                <c:pt idx="1459">
                  <c:v>588.7717667186007</c:v>
                </c:pt>
                <c:pt idx="1460">
                  <c:v>584.61862692005309</c:v>
                </c:pt>
                <c:pt idx="1461">
                  <c:v>527.45797024198976</c:v>
                </c:pt>
                <c:pt idx="1462">
                  <c:v>530.33608651202576</c:v>
                </c:pt>
                <c:pt idx="1463">
                  <c:v>534.73369165131817</c:v>
                </c:pt>
                <c:pt idx="1464">
                  <c:v>531.47507181006824</c:v>
                </c:pt>
                <c:pt idx="1465">
                  <c:v>533.6806427788199</c:v>
                </c:pt>
                <c:pt idx="1466">
                  <c:v>533.16353634001496</c:v>
                </c:pt>
                <c:pt idx="1467">
                  <c:v>532.37921772645507</c:v>
                </c:pt>
                <c:pt idx="1468">
                  <c:v>531.66085742963526</c:v>
                </c:pt>
                <c:pt idx="1469">
                  <c:v>531.11538406929162</c:v>
                </c:pt>
                <c:pt idx="1470">
                  <c:v>528.61097519096654</c:v>
                </c:pt>
                <c:pt idx="1471">
                  <c:v>535.98065541797587</c:v>
                </c:pt>
                <c:pt idx="1472">
                  <c:v>538.04266403423264</c:v>
                </c:pt>
                <c:pt idx="1473">
                  <c:v>537.12539269358308</c:v>
                </c:pt>
                <c:pt idx="1474">
                  <c:v>537.40521202501861</c:v>
                </c:pt>
                <c:pt idx="1475">
                  <c:v>546.69313460970716</c:v>
                </c:pt>
                <c:pt idx="1476">
                  <c:v>548.7161861783444</c:v>
                </c:pt>
                <c:pt idx="1477">
                  <c:v>550.48828417695552</c:v>
                </c:pt>
                <c:pt idx="1478">
                  <c:v>551.4690674535575</c:v>
                </c:pt>
                <c:pt idx="1479">
                  <c:v>550.67942498017987</c:v>
                </c:pt>
                <c:pt idx="1480">
                  <c:v>548.97796773623634</c:v>
                </c:pt>
                <c:pt idx="1481">
                  <c:v>546.15372194253473</c:v>
                </c:pt>
                <c:pt idx="1482">
                  <c:v>540.17584466157587</c:v>
                </c:pt>
                <c:pt idx="1483">
                  <c:v>536.15504371474833</c:v>
                </c:pt>
                <c:pt idx="1484">
                  <c:v>507.32601334807623</c:v>
                </c:pt>
                <c:pt idx="1485">
                  <c:v>538.88288108460483</c:v>
                </c:pt>
                <c:pt idx="1486">
                  <c:v>545.38384486034533</c:v>
                </c:pt>
                <c:pt idx="1487">
                  <c:v>549.10585247332256</c:v>
                </c:pt>
                <c:pt idx="1488">
                  <c:v>544.49850427105139</c:v>
                </c:pt>
                <c:pt idx="1489">
                  <c:v>543.18253563017379</c:v>
                </c:pt>
                <c:pt idx="1490">
                  <c:v>541.94041121303314</c:v>
                </c:pt>
                <c:pt idx="1491">
                  <c:v>541.20498337230572</c:v>
                </c:pt>
                <c:pt idx="1492">
                  <c:v>529.44747282795208</c:v>
                </c:pt>
                <c:pt idx="1493">
                  <c:v>527.11376311877757</c:v>
                </c:pt>
                <c:pt idx="1494">
                  <c:v>534.30620848091519</c:v>
                </c:pt>
                <c:pt idx="1495">
                  <c:v>536.34432870398405</c:v>
                </c:pt>
                <c:pt idx="1496">
                  <c:v>535.72347116234039</c:v>
                </c:pt>
                <c:pt idx="1497">
                  <c:v>509.48157241182861</c:v>
                </c:pt>
                <c:pt idx="1498">
                  <c:v>534.03897207619104</c:v>
                </c:pt>
                <c:pt idx="1499">
                  <c:v>535.67262031178848</c:v>
                </c:pt>
                <c:pt idx="1500">
                  <c:v>535.80350113426812</c:v>
                </c:pt>
                <c:pt idx="1501">
                  <c:v>530.82361186740275</c:v>
                </c:pt>
                <c:pt idx="1502">
                  <c:v>541.42503349492335</c:v>
                </c:pt>
                <c:pt idx="1503">
                  <c:v>543.70984379055551</c:v>
                </c:pt>
                <c:pt idx="1504">
                  <c:v>539.97672110190615</c:v>
                </c:pt>
                <c:pt idx="1505">
                  <c:v>536.81367090369565</c:v>
                </c:pt>
                <c:pt idx="1506">
                  <c:v>538.50887394867675</c:v>
                </c:pt>
                <c:pt idx="1507">
                  <c:v>536.4732711869334</c:v>
                </c:pt>
                <c:pt idx="1508">
                  <c:v>515.32008457065422</c:v>
                </c:pt>
                <c:pt idx="1509">
                  <c:v>491.1273518283196</c:v>
                </c:pt>
                <c:pt idx="1510">
                  <c:v>489.83406031937602</c:v>
                </c:pt>
                <c:pt idx="1511">
                  <c:v>455.068795652701</c:v>
                </c:pt>
                <c:pt idx="1512">
                  <c:v>462.53724417349252</c:v>
                </c:pt>
                <c:pt idx="1513">
                  <c:v>458.84267542858396</c:v>
                </c:pt>
                <c:pt idx="1514">
                  <c:v>455.86758876612316</c:v>
                </c:pt>
                <c:pt idx="1515">
                  <c:v>462.10134881254243</c:v>
                </c:pt>
                <c:pt idx="1516">
                  <c:v>462.69992023647268</c:v>
                </c:pt>
                <c:pt idx="1517">
                  <c:v>473.15254561078115</c:v>
                </c:pt>
                <c:pt idx="1518">
                  <c:v>503.8589400606752</c:v>
                </c:pt>
                <c:pt idx="1519">
                  <c:v>506.21306994100826</c:v>
                </c:pt>
                <c:pt idx="1520">
                  <c:v>512.97069560649459</c:v>
                </c:pt>
                <c:pt idx="1521">
                  <c:v>524.98978961085129</c:v>
                </c:pt>
                <c:pt idx="1522">
                  <c:v>527.57398554239933</c:v>
                </c:pt>
                <c:pt idx="1523">
                  <c:v>528.36141356058681</c:v>
                </c:pt>
                <c:pt idx="1524">
                  <c:v>529.02688417553566</c:v>
                </c:pt>
                <c:pt idx="1525">
                  <c:v>531.70437861627715</c:v>
                </c:pt>
                <c:pt idx="1526">
                  <c:v>530.32023495587191</c:v>
                </c:pt>
                <c:pt idx="1527">
                  <c:v>531.00426751599548</c:v>
                </c:pt>
                <c:pt idx="1528">
                  <c:v>532.19413217840861</c:v>
                </c:pt>
                <c:pt idx="1529">
                  <c:v>507.10848740154046</c:v>
                </c:pt>
                <c:pt idx="1530">
                  <c:v>506.69350147330431</c:v>
                </c:pt>
                <c:pt idx="1531">
                  <c:v>527.93550631294022</c:v>
                </c:pt>
                <c:pt idx="1532">
                  <c:v>531.58497287459795</c:v>
                </c:pt>
                <c:pt idx="1533">
                  <c:v>528.05420593796805</c:v>
                </c:pt>
                <c:pt idx="1534">
                  <c:v>532.44401302149868</c:v>
                </c:pt>
                <c:pt idx="1535">
                  <c:v>535.81238438583307</c:v>
                </c:pt>
                <c:pt idx="1536">
                  <c:v>536.78241033695747</c:v>
                </c:pt>
                <c:pt idx="1537">
                  <c:v>537.91193073441275</c:v>
                </c:pt>
                <c:pt idx="1538">
                  <c:v>538.96527966643703</c:v>
                </c:pt>
                <c:pt idx="1539">
                  <c:v>538.09649198232194</c:v>
                </c:pt>
                <c:pt idx="1540">
                  <c:v>537.05086546535074</c:v>
                </c:pt>
                <c:pt idx="1541">
                  <c:v>540.07245254002248</c:v>
                </c:pt>
                <c:pt idx="1542">
                  <c:v>543.27582044143537</c:v>
                </c:pt>
                <c:pt idx="1543">
                  <c:v>545.58871020470065</c:v>
                </c:pt>
                <c:pt idx="1544">
                  <c:v>546.36708715868542</c:v>
                </c:pt>
                <c:pt idx="1545">
                  <c:v>543.45216409017303</c:v>
                </c:pt>
                <c:pt idx="1546">
                  <c:v>518.1809968324377</c:v>
                </c:pt>
                <c:pt idx="1547">
                  <c:v>529.55083650229187</c:v>
                </c:pt>
                <c:pt idx="1548">
                  <c:v>531.13320627123005</c:v>
                </c:pt>
                <c:pt idx="1549">
                  <c:v>532.15775541306277</c:v>
                </c:pt>
                <c:pt idx="1550">
                  <c:v>532.01298054800952</c:v>
                </c:pt>
                <c:pt idx="1551">
                  <c:v>533.50947208474486</c:v>
                </c:pt>
                <c:pt idx="1552">
                  <c:v>534.00236115458733</c:v>
                </c:pt>
                <c:pt idx="1553">
                  <c:v>531.96979412000485</c:v>
                </c:pt>
                <c:pt idx="1554">
                  <c:v>531.43629146648425</c:v>
                </c:pt>
                <c:pt idx="1555">
                  <c:v>535.66192715654631</c:v>
                </c:pt>
                <c:pt idx="1556">
                  <c:v>537.92152196541326</c:v>
                </c:pt>
                <c:pt idx="1557">
                  <c:v>539.94839314530054</c:v>
                </c:pt>
                <c:pt idx="1558">
                  <c:v>540.79566722680374</c:v>
                </c:pt>
                <c:pt idx="1559">
                  <c:v>504.36821560185433</c:v>
                </c:pt>
                <c:pt idx="1560">
                  <c:v>505.55162319708552</c:v>
                </c:pt>
                <c:pt idx="1561">
                  <c:v>503.33478798609633</c:v>
                </c:pt>
                <c:pt idx="1562">
                  <c:v>503.00929819705061</c:v>
                </c:pt>
                <c:pt idx="1563">
                  <c:v>517.77104342134226</c:v>
                </c:pt>
                <c:pt idx="1564">
                  <c:v>538.22413446302016</c:v>
                </c:pt>
                <c:pt idx="1565">
                  <c:v>537.1073635761519</c:v>
                </c:pt>
                <c:pt idx="1566">
                  <c:v>505.9103968213139</c:v>
                </c:pt>
                <c:pt idx="1567">
                  <c:v>503.10336781633532</c:v>
                </c:pt>
                <c:pt idx="1568">
                  <c:v>535.53117679918034</c:v>
                </c:pt>
                <c:pt idx="1569">
                  <c:v>541.87005112095369</c:v>
                </c:pt>
                <c:pt idx="1570">
                  <c:v>537.41241448595031</c:v>
                </c:pt>
                <c:pt idx="1571">
                  <c:v>532.91197474245735</c:v>
                </c:pt>
                <c:pt idx="1572">
                  <c:v>535.11444764447822</c:v>
                </c:pt>
                <c:pt idx="1573">
                  <c:v>536.12903849996269</c:v>
                </c:pt>
                <c:pt idx="1574">
                  <c:v>502.40539423975565</c:v>
                </c:pt>
                <c:pt idx="1575">
                  <c:v>531.9082228668974</c:v>
                </c:pt>
                <c:pt idx="1576">
                  <c:v>501.88216160606294</c:v>
                </c:pt>
                <c:pt idx="1577">
                  <c:v>536.55721507960402</c:v>
                </c:pt>
                <c:pt idx="1578">
                  <c:v>500.00508150998303</c:v>
                </c:pt>
                <c:pt idx="1579">
                  <c:v>532.37677046992587</c:v>
                </c:pt>
                <c:pt idx="1580">
                  <c:v>526.0728417995366</c:v>
                </c:pt>
                <c:pt idx="1581">
                  <c:v>508.03412282552222</c:v>
                </c:pt>
                <c:pt idx="1582">
                  <c:v>502.81729429863827</c:v>
                </c:pt>
                <c:pt idx="1583">
                  <c:v>505.15228518877637</c:v>
                </c:pt>
                <c:pt idx="1584">
                  <c:v>504.465651913991</c:v>
                </c:pt>
                <c:pt idx="1585">
                  <c:v>506.71050887295007</c:v>
                </c:pt>
                <c:pt idx="1586">
                  <c:v>509.17634534642269</c:v>
                </c:pt>
                <c:pt idx="1587">
                  <c:v>509.40379765955487</c:v>
                </c:pt>
                <c:pt idx="1588">
                  <c:v>510.45553288842979</c:v>
                </c:pt>
                <c:pt idx="1589">
                  <c:v>476.7853062255079</c:v>
                </c:pt>
                <c:pt idx="1590">
                  <c:v>510.23046797673368</c:v>
                </c:pt>
                <c:pt idx="1591">
                  <c:v>510.11212212476357</c:v>
                </c:pt>
                <c:pt idx="1592">
                  <c:v>511.17946271405748</c:v>
                </c:pt>
                <c:pt idx="1593">
                  <c:v>511.42965450183726</c:v>
                </c:pt>
                <c:pt idx="1594">
                  <c:v>505.0447814236835</c:v>
                </c:pt>
                <c:pt idx="1595">
                  <c:v>503.48613047308316</c:v>
                </c:pt>
                <c:pt idx="1596">
                  <c:v>505.5250369756061</c:v>
                </c:pt>
                <c:pt idx="1597">
                  <c:v>504.82217836046715</c:v>
                </c:pt>
                <c:pt idx="1598">
                  <c:v>477.34111133077545</c:v>
                </c:pt>
                <c:pt idx="1599">
                  <c:v>504.94016813169713</c:v>
                </c:pt>
                <c:pt idx="1600">
                  <c:v>506.6559598830766</c:v>
                </c:pt>
                <c:pt idx="1601">
                  <c:v>508.53912202206016</c:v>
                </c:pt>
                <c:pt idx="1602">
                  <c:v>511.79791086944846</c:v>
                </c:pt>
                <c:pt idx="1603">
                  <c:v>509.02110524332795</c:v>
                </c:pt>
                <c:pt idx="1604">
                  <c:v>509.24305522572172</c:v>
                </c:pt>
                <c:pt idx="1605">
                  <c:v>512.14742390369827</c:v>
                </c:pt>
                <c:pt idx="1606">
                  <c:v>514.16605549191218</c:v>
                </c:pt>
                <c:pt idx="1607">
                  <c:v>513.96165196988397</c:v>
                </c:pt>
                <c:pt idx="1608">
                  <c:v>512.66773490008904</c:v>
                </c:pt>
                <c:pt idx="1609">
                  <c:v>509.71196537421537</c:v>
                </c:pt>
                <c:pt idx="1610">
                  <c:v>509.5359119135997</c:v>
                </c:pt>
                <c:pt idx="1611">
                  <c:v>514.1490049394796</c:v>
                </c:pt>
                <c:pt idx="1612">
                  <c:v>497.92638757159341</c:v>
                </c:pt>
                <c:pt idx="1613">
                  <c:v>531.85157141522984</c:v>
                </c:pt>
                <c:pt idx="1614">
                  <c:v>530.74452559483927</c:v>
                </c:pt>
                <c:pt idx="1615">
                  <c:v>532.6094533517271</c:v>
                </c:pt>
                <c:pt idx="1616">
                  <c:v>529.10306154382567</c:v>
                </c:pt>
                <c:pt idx="1617">
                  <c:v>526.99665821742303</c:v>
                </c:pt>
                <c:pt idx="1618">
                  <c:v>521.29898487293917</c:v>
                </c:pt>
                <c:pt idx="1619">
                  <c:v>512.8602530926629</c:v>
                </c:pt>
                <c:pt idx="1620">
                  <c:v>512.44777802339047</c:v>
                </c:pt>
                <c:pt idx="1621">
                  <c:v>519.83025998916162</c:v>
                </c:pt>
                <c:pt idx="1622">
                  <c:v>526.20081082420324</c:v>
                </c:pt>
                <c:pt idx="1623">
                  <c:v>526.19365017791245</c:v>
                </c:pt>
                <c:pt idx="1624">
                  <c:v>524.94965978312598</c:v>
                </c:pt>
                <c:pt idx="1625">
                  <c:v>533.32487318508197</c:v>
                </c:pt>
                <c:pt idx="1626">
                  <c:v>532.03926887475291</c:v>
                </c:pt>
                <c:pt idx="1627">
                  <c:v>534.10986253571707</c:v>
                </c:pt>
                <c:pt idx="1628">
                  <c:v>536.44960770516377</c:v>
                </c:pt>
                <c:pt idx="1629">
                  <c:v>534.68361997298064</c:v>
                </c:pt>
                <c:pt idx="1630">
                  <c:v>532.17497864436189</c:v>
                </c:pt>
                <c:pt idx="1631">
                  <c:v>530.21764048676312</c:v>
                </c:pt>
                <c:pt idx="1632">
                  <c:v>520.2457640441994</c:v>
                </c:pt>
                <c:pt idx="1633">
                  <c:v>516.12630380089729</c:v>
                </c:pt>
                <c:pt idx="1634">
                  <c:v>485.00704502988663</c:v>
                </c:pt>
                <c:pt idx="1635">
                  <c:v>487.22594467328929</c:v>
                </c:pt>
                <c:pt idx="1636">
                  <c:v>487.96244858125863</c:v>
                </c:pt>
                <c:pt idx="1637">
                  <c:v>489.2397025101879</c:v>
                </c:pt>
                <c:pt idx="1638">
                  <c:v>492.2764399601113</c:v>
                </c:pt>
                <c:pt idx="1639">
                  <c:v>504.94367887198609</c:v>
                </c:pt>
                <c:pt idx="1640">
                  <c:v>527.82091493820815</c:v>
                </c:pt>
                <c:pt idx="1641">
                  <c:v>528.3037515269599</c:v>
                </c:pt>
                <c:pt idx="1642">
                  <c:v>522.38938996520221</c:v>
                </c:pt>
                <c:pt idx="1643">
                  <c:v>514.4588389883321</c:v>
                </c:pt>
                <c:pt idx="1644">
                  <c:v>518.55688757787209</c:v>
                </c:pt>
                <c:pt idx="1645">
                  <c:v>521.66760511975326</c:v>
                </c:pt>
                <c:pt idx="1646">
                  <c:v>517.08910809361078</c:v>
                </c:pt>
                <c:pt idx="1647">
                  <c:v>436.52537626442819</c:v>
                </c:pt>
                <c:pt idx="1648">
                  <c:v>432.01134029657788</c:v>
                </c:pt>
                <c:pt idx="1649">
                  <c:v>490.21731753973899</c:v>
                </c:pt>
                <c:pt idx="1650">
                  <c:v>487.31876861973171</c:v>
                </c:pt>
                <c:pt idx="1651">
                  <c:v>502.71730139993383</c:v>
                </c:pt>
                <c:pt idx="1652">
                  <c:v>499.19303979444902</c:v>
                </c:pt>
                <c:pt idx="1653">
                  <c:v>510.27556624930918</c:v>
                </c:pt>
                <c:pt idx="1654">
                  <c:v>364.40055153896765</c:v>
                </c:pt>
                <c:pt idx="1655">
                  <c:v>363.63616570288508</c:v>
                </c:pt>
                <c:pt idx="1656">
                  <c:v>365.83273440517524</c:v>
                </c:pt>
                <c:pt idx="1657">
                  <c:v>364.83802066471719</c:v>
                </c:pt>
                <c:pt idx="1658">
                  <c:v>364.37723822196904</c:v>
                </c:pt>
                <c:pt idx="1659">
                  <c:v>362.13419432883927</c:v>
                </c:pt>
                <c:pt idx="1660">
                  <c:v>366.2252859318927</c:v>
                </c:pt>
                <c:pt idx="1661">
                  <c:v>365.73365043570959</c:v>
                </c:pt>
                <c:pt idx="1662">
                  <c:v>365.57696913799958</c:v>
                </c:pt>
                <c:pt idx="1663">
                  <c:v>363.7181828784577</c:v>
                </c:pt>
                <c:pt idx="1664">
                  <c:v>508.6752454464899</c:v>
                </c:pt>
                <c:pt idx="1665">
                  <c:v>528.13675305003517</c:v>
                </c:pt>
                <c:pt idx="1666">
                  <c:v>525.6547806269474</c:v>
                </c:pt>
                <c:pt idx="1667">
                  <c:v>528.48306319056417</c:v>
                </c:pt>
                <c:pt idx="1668">
                  <c:v>522.7326233943221</c:v>
                </c:pt>
                <c:pt idx="1669">
                  <c:v>529.51279457819203</c:v>
                </c:pt>
                <c:pt idx="1670">
                  <c:v>531.84163048050777</c:v>
                </c:pt>
                <c:pt idx="1671">
                  <c:v>527.59813504626811</c:v>
                </c:pt>
                <c:pt idx="1672">
                  <c:v>495.32272806201729</c:v>
                </c:pt>
                <c:pt idx="1673">
                  <c:v>496.53187554403058</c:v>
                </c:pt>
                <c:pt idx="1674">
                  <c:v>488.2012630715754</c:v>
                </c:pt>
                <c:pt idx="1675">
                  <c:v>487.66426398822074</c:v>
                </c:pt>
                <c:pt idx="1676">
                  <c:v>485.91851879501957</c:v>
                </c:pt>
                <c:pt idx="1677">
                  <c:v>474.3805162564289</c:v>
                </c:pt>
                <c:pt idx="1678">
                  <c:v>473.98599448365633</c:v>
                </c:pt>
                <c:pt idx="1679">
                  <c:v>470.87963676070962</c:v>
                </c:pt>
                <c:pt idx="1680">
                  <c:v>468.18355848359772</c:v>
                </c:pt>
                <c:pt idx="1681">
                  <c:v>474.74713633836808</c:v>
                </c:pt>
                <c:pt idx="1682">
                  <c:v>472.30472508668606</c:v>
                </c:pt>
                <c:pt idx="1683">
                  <c:v>457.58573093099886</c:v>
                </c:pt>
                <c:pt idx="1684">
                  <c:v>456.08428838517005</c:v>
                </c:pt>
                <c:pt idx="1685">
                  <c:v>456.38700139238171</c:v>
                </c:pt>
                <c:pt idx="1686">
                  <c:v>455.90557215642519</c:v>
                </c:pt>
                <c:pt idx="1687">
                  <c:v>454.1675368243578</c:v>
                </c:pt>
                <c:pt idx="1688">
                  <c:v>456.11355616543511</c:v>
                </c:pt>
                <c:pt idx="1689">
                  <c:v>471.59121839734081</c:v>
                </c:pt>
                <c:pt idx="1690">
                  <c:v>470.8919496179883</c:v>
                </c:pt>
                <c:pt idx="1691">
                  <c:v>470.96356940194778</c:v>
                </c:pt>
                <c:pt idx="1692">
                  <c:v>471.18802580819488</c:v>
                </c:pt>
                <c:pt idx="1693">
                  <c:v>471.08189183684289</c:v>
                </c:pt>
                <c:pt idx="1694">
                  <c:v>468.40753595906415</c:v>
                </c:pt>
                <c:pt idx="1695">
                  <c:v>495.22662507278267</c:v>
                </c:pt>
                <c:pt idx="1696">
                  <c:v>505.61000173682231</c:v>
                </c:pt>
                <c:pt idx="1697">
                  <c:v>507.91540802660245</c:v>
                </c:pt>
                <c:pt idx="1698">
                  <c:v>507.45463571725702</c:v>
                </c:pt>
                <c:pt idx="1699">
                  <c:v>506.97193515078135</c:v>
                </c:pt>
                <c:pt idx="1700">
                  <c:v>505.81220292860098</c:v>
                </c:pt>
                <c:pt idx="1701">
                  <c:v>505.62722601660602</c:v>
                </c:pt>
                <c:pt idx="1702">
                  <c:v>507.19365830012885</c:v>
                </c:pt>
                <c:pt idx="1703">
                  <c:v>508.13492164493425</c:v>
                </c:pt>
                <c:pt idx="1704">
                  <c:v>478.01602818651673</c:v>
                </c:pt>
                <c:pt idx="1705">
                  <c:v>480.23539612670572</c:v>
                </c:pt>
                <c:pt idx="1706">
                  <c:v>478.10773196928585</c:v>
                </c:pt>
                <c:pt idx="1707">
                  <c:v>479.16581845428618</c:v>
                </c:pt>
                <c:pt idx="1708">
                  <c:v>493.3410122605024</c:v>
                </c:pt>
                <c:pt idx="1709">
                  <c:v>456.45788803724054</c:v>
                </c:pt>
                <c:pt idx="1710">
                  <c:v>481.64629261739321</c:v>
                </c:pt>
                <c:pt idx="1711">
                  <c:v>482.62224063968893</c:v>
                </c:pt>
                <c:pt idx="1712">
                  <c:v>482.63502505650831</c:v>
                </c:pt>
                <c:pt idx="1713">
                  <c:v>491.58128006452193</c:v>
                </c:pt>
                <c:pt idx="1714">
                  <c:v>489.33840493020404</c:v>
                </c:pt>
                <c:pt idx="1715">
                  <c:v>456.40595219158632</c:v>
                </c:pt>
                <c:pt idx="1716">
                  <c:v>483.25374906346417</c:v>
                </c:pt>
                <c:pt idx="1717">
                  <c:v>500.74996042322925</c:v>
                </c:pt>
                <c:pt idx="1718">
                  <c:v>508.03365791978138</c:v>
                </c:pt>
                <c:pt idx="1719">
                  <c:v>512.43286701692762</c:v>
                </c:pt>
                <c:pt idx="1720">
                  <c:v>511.59411475116468</c:v>
                </c:pt>
                <c:pt idx="1721">
                  <c:v>473.12624347800585</c:v>
                </c:pt>
                <c:pt idx="1722">
                  <c:v>514.863351705387</c:v>
                </c:pt>
                <c:pt idx="1723">
                  <c:v>514.26574656609466</c:v>
                </c:pt>
                <c:pt idx="1724">
                  <c:v>519.88732022469719</c:v>
                </c:pt>
                <c:pt idx="1725">
                  <c:v>523.32734474216602</c:v>
                </c:pt>
                <c:pt idx="1726">
                  <c:v>521.73543061339126</c:v>
                </c:pt>
                <c:pt idx="1727">
                  <c:v>520.02066779852146</c:v>
                </c:pt>
                <c:pt idx="1728">
                  <c:v>514.09520203718193</c:v>
                </c:pt>
                <c:pt idx="1729">
                  <c:v>512.13067517011075</c:v>
                </c:pt>
                <c:pt idx="1730">
                  <c:v>502.72035703373746</c:v>
                </c:pt>
                <c:pt idx="1731">
                  <c:v>455.29230806202912</c:v>
                </c:pt>
                <c:pt idx="1732">
                  <c:v>492.8284248200809</c:v>
                </c:pt>
                <c:pt idx="1733">
                  <c:v>485.59431885601725</c:v>
                </c:pt>
                <c:pt idx="1734">
                  <c:v>404.34230700077808</c:v>
                </c:pt>
                <c:pt idx="1735">
                  <c:v>398.72250510027601</c:v>
                </c:pt>
                <c:pt idx="1736">
                  <c:v>398.90225165237598</c:v>
                </c:pt>
                <c:pt idx="1737">
                  <c:v>405.85874871624628</c:v>
                </c:pt>
                <c:pt idx="1738">
                  <c:v>409.68085482248773</c:v>
                </c:pt>
                <c:pt idx="1739">
                  <c:v>430.44065021075551</c:v>
                </c:pt>
                <c:pt idx="1740">
                  <c:v>428.46227779563259</c:v>
                </c:pt>
                <c:pt idx="1741">
                  <c:v>435.67090321675147</c:v>
                </c:pt>
                <c:pt idx="1742">
                  <c:v>428.32775938028323</c:v>
                </c:pt>
                <c:pt idx="1743">
                  <c:v>424.11001426603099</c:v>
                </c:pt>
                <c:pt idx="1744">
                  <c:v>427.14997492084552</c:v>
                </c:pt>
                <c:pt idx="1745">
                  <c:v>431.1631200994446</c:v>
                </c:pt>
                <c:pt idx="1746">
                  <c:v>425.39422508433262</c:v>
                </c:pt>
                <c:pt idx="1747">
                  <c:v>422.08715508811929</c:v>
                </c:pt>
                <c:pt idx="1748">
                  <c:v>423.55144438893967</c:v>
                </c:pt>
                <c:pt idx="1749">
                  <c:v>421.05999187214729</c:v>
                </c:pt>
                <c:pt idx="1750">
                  <c:v>421.65731343825547</c:v>
                </c:pt>
                <c:pt idx="1751">
                  <c:v>422.28818451753551</c:v>
                </c:pt>
                <c:pt idx="1752">
                  <c:v>423.65401270102666</c:v>
                </c:pt>
                <c:pt idx="1753">
                  <c:v>418.63685831719818</c:v>
                </c:pt>
                <c:pt idx="1754">
                  <c:v>428.38743599870025</c:v>
                </c:pt>
                <c:pt idx="1755">
                  <c:v>419.6198407234761</c:v>
                </c:pt>
                <c:pt idx="1756">
                  <c:v>409.00479275399925</c:v>
                </c:pt>
                <c:pt idx="1757">
                  <c:v>412.62753253256506</c:v>
                </c:pt>
                <c:pt idx="1758">
                  <c:v>412.88119856309947</c:v>
                </c:pt>
                <c:pt idx="1759">
                  <c:v>426.0101613250805</c:v>
                </c:pt>
                <c:pt idx="1760">
                  <c:v>432.01315385602777</c:v>
                </c:pt>
                <c:pt idx="1761">
                  <c:v>431.60467047441676</c:v>
                </c:pt>
                <c:pt idx="1762">
                  <c:v>417.62925731433779</c:v>
                </c:pt>
                <c:pt idx="1763">
                  <c:v>403.32225562182759</c:v>
                </c:pt>
                <c:pt idx="1764">
                  <c:v>375.13202833779474</c:v>
                </c:pt>
                <c:pt idx="1765">
                  <c:v>339.84432740158081</c:v>
                </c:pt>
                <c:pt idx="1766">
                  <c:v>346.63087708068508</c:v>
                </c:pt>
                <c:pt idx="1767">
                  <c:v>371.649591185845</c:v>
                </c:pt>
                <c:pt idx="1768">
                  <c:v>402.73918940698002</c:v>
                </c:pt>
                <c:pt idx="1769">
                  <c:v>399.47339725561619</c:v>
                </c:pt>
                <c:pt idx="1770">
                  <c:v>387.928571620497</c:v>
                </c:pt>
                <c:pt idx="1771">
                  <c:v>384.50708496774769</c:v>
                </c:pt>
                <c:pt idx="1772">
                  <c:v>390.56521959723989</c:v>
                </c:pt>
                <c:pt idx="1773">
                  <c:v>420.74466681118292</c:v>
                </c:pt>
                <c:pt idx="1774">
                  <c:v>436.22626914080359</c:v>
                </c:pt>
                <c:pt idx="1775">
                  <c:v>435.5031215731276</c:v>
                </c:pt>
                <c:pt idx="1776">
                  <c:v>433.64440548236854</c:v>
                </c:pt>
                <c:pt idx="1777">
                  <c:v>433.43967542150108</c:v>
                </c:pt>
                <c:pt idx="1778">
                  <c:v>436.10025012914576</c:v>
                </c:pt>
                <c:pt idx="1779">
                  <c:v>441.4864630570591</c:v>
                </c:pt>
                <c:pt idx="1780">
                  <c:v>449.92607066507583</c:v>
                </c:pt>
                <c:pt idx="1781">
                  <c:v>454.44518063492154</c:v>
                </c:pt>
                <c:pt idx="1782">
                  <c:v>462.90593841557779</c:v>
                </c:pt>
                <c:pt idx="1783">
                  <c:v>452.33683025876161</c:v>
                </c:pt>
                <c:pt idx="1784">
                  <c:v>447.83868200604689</c:v>
                </c:pt>
                <c:pt idx="1785">
                  <c:v>448.53854921753071</c:v>
                </c:pt>
                <c:pt idx="1786">
                  <c:v>448.60503877112717</c:v>
                </c:pt>
                <c:pt idx="1787">
                  <c:v>450.71294930563204</c:v>
                </c:pt>
                <c:pt idx="1788">
                  <c:v>451.78519275566987</c:v>
                </c:pt>
                <c:pt idx="1789">
                  <c:v>455.61584585954859</c:v>
                </c:pt>
                <c:pt idx="1790">
                  <c:v>459.15810575400855</c:v>
                </c:pt>
                <c:pt idx="1791">
                  <c:v>450.53224015259275</c:v>
                </c:pt>
                <c:pt idx="1792">
                  <c:v>449.31948963173977</c:v>
                </c:pt>
                <c:pt idx="1793">
                  <c:v>454.02736529669198</c:v>
                </c:pt>
                <c:pt idx="1794">
                  <c:v>458.87031366727103</c:v>
                </c:pt>
                <c:pt idx="1795">
                  <c:v>462.33080324803319</c:v>
                </c:pt>
                <c:pt idx="1796">
                  <c:v>461.61404744144812</c:v>
                </c:pt>
                <c:pt idx="1797">
                  <c:v>461.26911166810544</c:v>
                </c:pt>
                <c:pt idx="1798">
                  <c:v>461.71452083567686</c:v>
                </c:pt>
                <c:pt idx="1799">
                  <c:v>460.8724849219729</c:v>
                </c:pt>
                <c:pt idx="1800">
                  <c:v>461.80924670910997</c:v>
                </c:pt>
                <c:pt idx="1801">
                  <c:v>465.112523122749</c:v>
                </c:pt>
                <c:pt idx="1802">
                  <c:v>466.67107630320095</c:v>
                </c:pt>
                <c:pt idx="1803">
                  <c:v>465.34852325339887</c:v>
                </c:pt>
                <c:pt idx="1804">
                  <c:v>466.77256147059353</c:v>
                </c:pt>
                <c:pt idx="1805">
                  <c:v>462.78417078893636</c:v>
                </c:pt>
                <c:pt idx="1806">
                  <c:v>461.99177137783909</c:v>
                </c:pt>
                <c:pt idx="1807">
                  <c:v>466.66878924264228</c:v>
                </c:pt>
                <c:pt idx="1808">
                  <c:v>465.64189145488763</c:v>
                </c:pt>
                <c:pt idx="1809">
                  <c:v>469.11130744035825</c:v>
                </c:pt>
                <c:pt idx="1810">
                  <c:v>467.01829718259359</c:v>
                </c:pt>
                <c:pt idx="1811">
                  <c:v>471.48505983083237</c:v>
                </c:pt>
                <c:pt idx="1812">
                  <c:v>441.92181408638641</c:v>
                </c:pt>
                <c:pt idx="1813">
                  <c:v>440.87168779193922</c:v>
                </c:pt>
                <c:pt idx="1814">
                  <c:v>443.22597099797622</c:v>
                </c:pt>
                <c:pt idx="1815">
                  <c:v>436.14099651942308</c:v>
                </c:pt>
                <c:pt idx="1816">
                  <c:v>433.08962896279996</c:v>
                </c:pt>
                <c:pt idx="1817">
                  <c:v>416.12085987883057</c:v>
                </c:pt>
                <c:pt idx="1818">
                  <c:v>412.87735414385838</c:v>
                </c:pt>
                <c:pt idx="1819">
                  <c:v>411.91218409112332</c:v>
                </c:pt>
                <c:pt idx="1820">
                  <c:v>409.02935656542303</c:v>
                </c:pt>
                <c:pt idx="1821">
                  <c:v>408.69260209503022</c:v>
                </c:pt>
                <c:pt idx="1822">
                  <c:v>412.85541437032288</c:v>
                </c:pt>
                <c:pt idx="1823">
                  <c:v>419.92671892853753</c:v>
                </c:pt>
                <c:pt idx="1824">
                  <c:v>422.18253675260871</c:v>
                </c:pt>
                <c:pt idx="1825">
                  <c:v>408.23282179298445</c:v>
                </c:pt>
                <c:pt idx="1826">
                  <c:v>342.95651406750085</c:v>
                </c:pt>
                <c:pt idx="1827">
                  <c:v>327.99865859040511</c:v>
                </c:pt>
                <c:pt idx="1828">
                  <c:v>317.05929034070869</c:v>
                </c:pt>
                <c:pt idx="1829">
                  <c:v>310.30927806311041</c:v>
                </c:pt>
                <c:pt idx="1830">
                  <c:v>329.78864692972599</c:v>
                </c:pt>
                <c:pt idx="1831">
                  <c:v>312.14279400135143</c:v>
                </c:pt>
                <c:pt idx="1832">
                  <c:v>312.95579318950547</c:v>
                </c:pt>
                <c:pt idx="1833">
                  <c:v>308.56558535239725</c:v>
                </c:pt>
                <c:pt idx="1834">
                  <c:v>306.68228315740896</c:v>
                </c:pt>
                <c:pt idx="1835">
                  <c:v>320.54424141091999</c:v>
                </c:pt>
                <c:pt idx="1836">
                  <c:v>315.77355403065332</c:v>
                </c:pt>
                <c:pt idx="1837">
                  <c:v>332.79960980628761</c:v>
                </c:pt>
                <c:pt idx="1838">
                  <c:v>327.13260479582868</c:v>
                </c:pt>
                <c:pt idx="1839">
                  <c:v>322.74586491700467</c:v>
                </c:pt>
                <c:pt idx="1840">
                  <c:v>319.16249217490764</c:v>
                </c:pt>
                <c:pt idx="1841">
                  <c:v>316.68963275141607</c:v>
                </c:pt>
                <c:pt idx="1842">
                  <c:v>325.63495048396248</c:v>
                </c:pt>
                <c:pt idx="1843">
                  <c:v>317.80962938316355</c:v>
                </c:pt>
                <c:pt idx="1844">
                  <c:v>318.85746438036193</c:v>
                </c:pt>
                <c:pt idx="1845">
                  <c:v>316.87636940905605</c:v>
                </c:pt>
                <c:pt idx="1846">
                  <c:v>322.27597917104964</c:v>
                </c:pt>
                <c:pt idx="1847">
                  <c:v>314.88732612550939</c:v>
                </c:pt>
                <c:pt idx="1848">
                  <c:v>317.53087410406886</c:v>
                </c:pt>
                <c:pt idx="1849">
                  <c:v>334.84133559273721</c:v>
                </c:pt>
                <c:pt idx="1850">
                  <c:v>340.62590817225555</c:v>
                </c:pt>
                <c:pt idx="1851">
                  <c:v>360.67628804595131</c:v>
                </c:pt>
                <c:pt idx="1852">
                  <c:v>354.33646615286898</c:v>
                </c:pt>
                <c:pt idx="1853">
                  <c:v>342.61600881041397</c:v>
                </c:pt>
                <c:pt idx="1854">
                  <c:v>337.57977344315395</c:v>
                </c:pt>
                <c:pt idx="1855">
                  <c:v>336.66372590629186</c:v>
                </c:pt>
                <c:pt idx="1856">
                  <c:v>343.40752756496403</c:v>
                </c:pt>
                <c:pt idx="1857">
                  <c:v>409.80468125606194</c:v>
                </c:pt>
                <c:pt idx="1858">
                  <c:v>388.38659978758767</c:v>
                </c:pt>
                <c:pt idx="1859">
                  <c:v>378.11264410678427</c:v>
                </c:pt>
                <c:pt idx="1860">
                  <c:v>379.07280072854928</c:v>
                </c:pt>
                <c:pt idx="1861">
                  <c:v>385.24589977199918</c:v>
                </c:pt>
                <c:pt idx="1862">
                  <c:v>386.98207817652064</c:v>
                </c:pt>
                <c:pt idx="1863">
                  <c:v>391.86253113371072</c:v>
                </c:pt>
                <c:pt idx="1864">
                  <c:v>371.97582551516518</c:v>
                </c:pt>
                <c:pt idx="1865">
                  <c:v>375.05936030892695</c:v>
                </c:pt>
                <c:pt idx="1866">
                  <c:v>348.33980992197263</c:v>
                </c:pt>
                <c:pt idx="1867">
                  <c:v>343.86065675642044</c:v>
                </c:pt>
                <c:pt idx="1868">
                  <c:v>341.64634718854319</c:v>
                </c:pt>
                <c:pt idx="1869">
                  <c:v>343.7303981749738</c:v>
                </c:pt>
                <c:pt idx="1870">
                  <c:v>358.80169494370801</c:v>
                </c:pt>
                <c:pt idx="1871">
                  <c:v>368.20027766504654</c:v>
                </c:pt>
                <c:pt idx="1872">
                  <c:v>339.98891184531817</c:v>
                </c:pt>
                <c:pt idx="1873">
                  <c:v>334.26546979494606</c:v>
                </c:pt>
                <c:pt idx="1874">
                  <c:v>337.28909536331088</c:v>
                </c:pt>
                <c:pt idx="1875">
                  <c:v>328.78813864682121</c:v>
                </c:pt>
                <c:pt idx="1876">
                  <c:v>328.37836474019326</c:v>
                </c:pt>
                <c:pt idx="1877">
                  <c:v>333.63946963880755</c:v>
                </c:pt>
                <c:pt idx="1878">
                  <c:v>341.61060572433877</c:v>
                </c:pt>
                <c:pt idx="1879">
                  <c:v>358.95804076758219</c:v>
                </c:pt>
                <c:pt idx="1880">
                  <c:v>389.96683310781833</c:v>
                </c:pt>
                <c:pt idx="1881">
                  <c:v>426.07947564462745</c:v>
                </c:pt>
                <c:pt idx="1882">
                  <c:v>446.23461624184972</c:v>
                </c:pt>
                <c:pt idx="1883">
                  <c:v>434.54503397840364</c:v>
                </c:pt>
                <c:pt idx="1884">
                  <c:v>435.08017427716993</c:v>
                </c:pt>
                <c:pt idx="1885">
                  <c:v>446.58109218555268</c:v>
                </c:pt>
                <c:pt idx="1886">
                  <c:v>441.44253221027446</c:v>
                </c:pt>
                <c:pt idx="1887">
                  <c:v>437.02984720272946</c:v>
                </c:pt>
                <c:pt idx="1888">
                  <c:v>444.4735574387542</c:v>
                </c:pt>
                <c:pt idx="1889">
                  <c:v>440.8981712734257</c:v>
                </c:pt>
                <c:pt idx="1890">
                  <c:v>437.46975102147258</c:v>
                </c:pt>
                <c:pt idx="1891">
                  <c:v>439.65321379329504</c:v>
                </c:pt>
                <c:pt idx="1892">
                  <c:v>439.94225582332967</c:v>
                </c:pt>
                <c:pt idx="1893">
                  <c:v>440.50122654271684</c:v>
                </c:pt>
                <c:pt idx="1894">
                  <c:v>442.13226605193569</c:v>
                </c:pt>
                <c:pt idx="1895">
                  <c:v>444.97449375649222</c:v>
                </c:pt>
                <c:pt idx="1896">
                  <c:v>441.35085370624017</c:v>
                </c:pt>
                <c:pt idx="1897">
                  <c:v>440.79593463297539</c:v>
                </c:pt>
                <c:pt idx="1898">
                  <c:v>440.88096286597408</c:v>
                </c:pt>
                <c:pt idx="1899">
                  <c:v>410.53362849013683</c:v>
                </c:pt>
                <c:pt idx="1900">
                  <c:v>384.35784350950246</c:v>
                </c:pt>
                <c:pt idx="1901">
                  <c:v>371.03854533985316</c:v>
                </c:pt>
                <c:pt idx="1902">
                  <c:v>372.77137670841449</c:v>
                </c:pt>
                <c:pt idx="1903">
                  <c:v>372.32505398417237</c:v>
                </c:pt>
                <c:pt idx="1904">
                  <c:v>372.2370881431126</c:v>
                </c:pt>
                <c:pt idx="1905">
                  <c:v>380.62502073714063</c:v>
                </c:pt>
                <c:pt idx="1906">
                  <c:v>393.9004455620298</c:v>
                </c:pt>
                <c:pt idx="1907">
                  <c:v>389.52420434628641</c:v>
                </c:pt>
                <c:pt idx="1908">
                  <c:v>398.17386178655113</c:v>
                </c:pt>
                <c:pt idx="1909">
                  <c:v>404.93920182292669</c:v>
                </c:pt>
                <c:pt idx="1910">
                  <c:v>397.09938526736408</c:v>
                </c:pt>
                <c:pt idx="1911">
                  <c:v>403.16269836806936</c:v>
                </c:pt>
                <c:pt idx="1912">
                  <c:v>407.8329074275353</c:v>
                </c:pt>
                <c:pt idx="1913">
                  <c:v>409.54510324760588</c:v>
                </c:pt>
                <c:pt idx="1914">
                  <c:v>423.02210058677315</c:v>
                </c:pt>
                <c:pt idx="1915">
                  <c:v>425.74248454910401</c:v>
                </c:pt>
                <c:pt idx="1916">
                  <c:v>377.74748774349462</c:v>
                </c:pt>
                <c:pt idx="1917">
                  <c:v>386.99096890857038</c:v>
                </c:pt>
                <c:pt idx="1918">
                  <c:v>391.9377724329027</c:v>
                </c:pt>
                <c:pt idx="1919">
                  <c:v>394.02173331088409</c:v>
                </c:pt>
                <c:pt idx="1920">
                  <c:v>391.60539825928782</c:v>
                </c:pt>
                <c:pt idx="1921">
                  <c:v>385.31251878727699</c:v>
                </c:pt>
                <c:pt idx="1922">
                  <c:v>376.25025154906933</c:v>
                </c:pt>
                <c:pt idx="1923">
                  <c:v>355.38697362610532</c:v>
                </c:pt>
                <c:pt idx="1924">
                  <c:v>342.81744104844546</c:v>
                </c:pt>
                <c:pt idx="1925">
                  <c:v>343.72860494216911</c:v>
                </c:pt>
                <c:pt idx="1926">
                  <c:v>368.08265108943738</c:v>
                </c:pt>
                <c:pt idx="1927">
                  <c:v>346.62873495813636</c:v>
                </c:pt>
                <c:pt idx="1928">
                  <c:v>337.8475848208742</c:v>
                </c:pt>
                <c:pt idx="1929">
                  <c:v>348.0131286969916</c:v>
                </c:pt>
                <c:pt idx="1930">
                  <c:v>335.85824635089233</c:v>
                </c:pt>
                <c:pt idx="1931">
                  <c:v>319.78811675648132</c:v>
                </c:pt>
                <c:pt idx="1932">
                  <c:v>320.19289354055684</c:v>
                </c:pt>
                <c:pt idx="1933">
                  <c:v>323.33089232466727</c:v>
                </c:pt>
                <c:pt idx="1934">
                  <c:v>322.1277137036289</c:v>
                </c:pt>
                <c:pt idx="1935">
                  <c:v>325.45106478467659</c:v>
                </c:pt>
                <c:pt idx="1936">
                  <c:v>326.48210142175486</c:v>
                </c:pt>
                <c:pt idx="1937">
                  <c:v>323.4626959857153</c:v>
                </c:pt>
                <c:pt idx="1938">
                  <c:v>307.99775379561345</c:v>
                </c:pt>
                <c:pt idx="1939">
                  <c:v>307.94991381630359</c:v>
                </c:pt>
                <c:pt idx="1940">
                  <c:v>322.56210009802118</c:v>
                </c:pt>
                <c:pt idx="1941">
                  <c:v>321.87399047725523</c:v>
                </c:pt>
                <c:pt idx="1942">
                  <c:v>302.02567261481909</c:v>
                </c:pt>
                <c:pt idx="1943">
                  <c:v>305.31342351396637</c:v>
                </c:pt>
                <c:pt idx="1944">
                  <c:v>301.21974236397966</c:v>
                </c:pt>
                <c:pt idx="1945">
                  <c:v>304.46429308462365</c:v>
                </c:pt>
                <c:pt idx="1946">
                  <c:v>319.74552719282684</c:v>
                </c:pt>
                <c:pt idx="1947">
                  <c:v>350.65180448346183</c:v>
                </c:pt>
                <c:pt idx="1948">
                  <c:v>350.32221076848123</c:v>
                </c:pt>
                <c:pt idx="1949">
                  <c:v>353.85204450219572</c:v>
                </c:pt>
                <c:pt idx="1950">
                  <c:v>357.86699252111976</c:v>
                </c:pt>
                <c:pt idx="1951">
                  <c:v>357.33584580796685</c:v>
                </c:pt>
                <c:pt idx="1952">
                  <c:v>327.72725189600817</c:v>
                </c:pt>
                <c:pt idx="1953">
                  <c:v>333.95109006750988</c:v>
                </c:pt>
                <c:pt idx="1954">
                  <c:v>346.08969742842402</c:v>
                </c:pt>
                <c:pt idx="1955">
                  <c:v>326.15971124032728</c:v>
                </c:pt>
                <c:pt idx="1956">
                  <c:v>306.4220663610044</c:v>
                </c:pt>
                <c:pt idx="1957">
                  <c:v>293.53143140995269</c:v>
                </c:pt>
                <c:pt idx="1958">
                  <c:v>298.98639483828737</c:v>
                </c:pt>
                <c:pt idx="1959">
                  <c:v>303.42745946926357</c:v>
                </c:pt>
                <c:pt idx="1960">
                  <c:v>302.45047986136558</c:v>
                </c:pt>
                <c:pt idx="1961">
                  <c:v>290.39208973970329</c:v>
                </c:pt>
                <c:pt idx="1962">
                  <c:v>281.86819170573847</c:v>
                </c:pt>
                <c:pt idx="1963">
                  <c:v>285.70598899047286</c:v>
                </c:pt>
                <c:pt idx="1964">
                  <c:v>291.76401447618451</c:v>
                </c:pt>
                <c:pt idx="1965">
                  <c:v>288.79236213453714</c:v>
                </c:pt>
                <c:pt idx="1966">
                  <c:v>270.3601697897555</c:v>
                </c:pt>
                <c:pt idx="1967">
                  <c:v>268.74142789961741</c:v>
                </c:pt>
                <c:pt idx="1968">
                  <c:v>269.86335813611606</c:v>
                </c:pt>
                <c:pt idx="1969">
                  <c:v>271.74313317310884</c:v>
                </c:pt>
                <c:pt idx="1970">
                  <c:v>271.70868869209778</c:v>
                </c:pt>
                <c:pt idx="1971">
                  <c:v>272.61219597131134</c:v>
                </c:pt>
                <c:pt idx="1972">
                  <c:v>270.8248558830619</c:v>
                </c:pt>
                <c:pt idx="1973">
                  <c:v>270.40796207638886</c:v>
                </c:pt>
                <c:pt idx="1974">
                  <c:v>269.54542323434384</c:v>
                </c:pt>
                <c:pt idx="1975">
                  <c:v>271.58332464115551</c:v>
                </c:pt>
                <c:pt idx="1976">
                  <c:v>253.18343806334059</c:v>
                </c:pt>
                <c:pt idx="1977">
                  <c:v>281.17007836300087</c:v>
                </c:pt>
                <c:pt idx="1978">
                  <c:v>281.98453258627666</c:v>
                </c:pt>
                <c:pt idx="1979">
                  <c:v>274.44309360432595</c:v>
                </c:pt>
                <c:pt idx="1980">
                  <c:v>267.18376687804533</c:v>
                </c:pt>
                <c:pt idx="1981">
                  <c:v>270.8502839469221</c:v>
                </c:pt>
                <c:pt idx="1982">
                  <c:v>271.15016228321088</c:v>
                </c:pt>
                <c:pt idx="1983">
                  <c:v>265.59567999745218</c:v>
                </c:pt>
                <c:pt idx="1984">
                  <c:v>265.49055593325727</c:v>
                </c:pt>
                <c:pt idx="1985">
                  <c:v>261.42778612954419</c:v>
                </c:pt>
                <c:pt idx="1986">
                  <c:v>261.10271402511637</c:v>
                </c:pt>
                <c:pt idx="1987">
                  <c:v>257.80044841839089</c:v>
                </c:pt>
                <c:pt idx="1988">
                  <c:v>258.7697770902472</c:v>
                </c:pt>
                <c:pt idx="1989">
                  <c:v>230.83283484554201</c:v>
                </c:pt>
                <c:pt idx="1990">
                  <c:v>217.35034340870044</c:v>
                </c:pt>
                <c:pt idx="1991">
                  <c:v>213.84717596023032</c:v>
                </c:pt>
                <c:pt idx="1992">
                  <c:v>191.1874723510789</c:v>
                </c:pt>
                <c:pt idx="1993">
                  <c:v>191.3052173884783</c:v>
                </c:pt>
                <c:pt idx="1994">
                  <c:v>188.94498496333651</c:v>
                </c:pt>
                <c:pt idx="1995">
                  <c:v>190.94827962045389</c:v>
                </c:pt>
                <c:pt idx="1996">
                  <c:v>192.99558286168948</c:v>
                </c:pt>
                <c:pt idx="1997">
                  <c:v>161.38558568114252</c:v>
                </c:pt>
                <c:pt idx="1998">
                  <c:v>160.3066308098571</c:v>
                </c:pt>
                <c:pt idx="1999">
                  <c:v>160.63710237778179</c:v>
                </c:pt>
                <c:pt idx="2000">
                  <c:v>160.53957323097461</c:v>
                </c:pt>
                <c:pt idx="2001">
                  <c:v>160.26287102962843</c:v>
                </c:pt>
                <c:pt idx="2002">
                  <c:v>160.04560665709036</c:v>
                </c:pt>
                <c:pt idx="2003">
                  <c:v>176.47214060650438</c:v>
                </c:pt>
                <c:pt idx="2004">
                  <c:v>195.94181899603115</c:v>
                </c:pt>
                <c:pt idx="2005">
                  <c:v>196.55137693472489</c:v>
                </c:pt>
                <c:pt idx="2006">
                  <c:v>199.38463209225239</c:v>
                </c:pt>
                <c:pt idx="2007">
                  <c:v>195.46828739290061</c:v>
                </c:pt>
                <c:pt idx="2008">
                  <c:v>192.83656042675921</c:v>
                </c:pt>
                <c:pt idx="2009">
                  <c:v>191.65031038239411</c:v>
                </c:pt>
                <c:pt idx="2010">
                  <c:v>194.0005639846986</c:v>
                </c:pt>
                <c:pt idx="2011">
                  <c:v>193.62593414977866</c:v>
                </c:pt>
                <c:pt idx="2012">
                  <c:v>194.55997197257821</c:v>
                </c:pt>
                <c:pt idx="2013">
                  <c:v>193.35566577634901</c:v>
                </c:pt>
                <c:pt idx="2014">
                  <c:v>193.42449900069099</c:v>
                </c:pt>
                <c:pt idx="2015">
                  <c:v>192.91155654498971</c:v>
                </c:pt>
                <c:pt idx="2016">
                  <c:v>191.08510899359257</c:v>
                </c:pt>
                <c:pt idx="2017">
                  <c:v>136.67071087502117</c:v>
                </c:pt>
                <c:pt idx="2018">
                  <c:v>134.7707020222671</c:v>
                </c:pt>
                <c:pt idx="2019">
                  <c:v>135.53097873982435</c:v>
                </c:pt>
                <c:pt idx="2020">
                  <c:v>136.56896919783964</c:v>
                </c:pt>
                <c:pt idx="2021">
                  <c:v>135.58456843448087</c:v>
                </c:pt>
                <c:pt idx="2022">
                  <c:v>135.49032988486252</c:v>
                </c:pt>
                <c:pt idx="2023">
                  <c:v>133.46816957951904</c:v>
                </c:pt>
                <c:pt idx="2024">
                  <c:v>135.70207034287782</c:v>
                </c:pt>
                <c:pt idx="2025">
                  <c:v>136.99709324364116</c:v>
                </c:pt>
                <c:pt idx="2026">
                  <c:v>136.24490622074038</c:v>
                </c:pt>
                <c:pt idx="2027">
                  <c:v>203.85240833838679</c:v>
                </c:pt>
                <c:pt idx="2028">
                  <c:v>203.12573935355755</c:v>
                </c:pt>
                <c:pt idx="2029">
                  <c:v>201.71585474223056</c:v>
                </c:pt>
                <c:pt idx="2030">
                  <c:v>201.11456559581458</c:v>
                </c:pt>
                <c:pt idx="2031">
                  <c:v>200.87917560094277</c:v>
                </c:pt>
                <c:pt idx="2032">
                  <c:v>198.87476154168502</c:v>
                </c:pt>
                <c:pt idx="2033">
                  <c:v>172.07330927117124</c:v>
                </c:pt>
                <c:pt idx="2034">
                  <c:v>168.92016833275557</c:v>
                </c:pt>
                <c:pt idx="2035">
                  <c:v>167.85790197706362</c:v>
                </c:pt>
                <c:pt idx="2036">
                  <c:v>167.80675432974013</c:v>
                </c:pt>
                <c:pt idx="2037">
                  <c:v>164.05967611131584</c:v>
                </c:pt>
                <c:pt idx="2038">
                  <c:v>160.35330668125425</c:v>
                </c:pt>
                <c:pt idx="2039">
                  <c:v>164.10062473274004</c:v>
                </c:pt>
                <c:pt idx="2040">
                  <c:v>163.26208707168087</c:v>
                </c:pt>
                <c:pt idx="2041">
                  <c:v>160.22687672986717</c:v>
                </c:pt>
                <c:pt idx="2042">
                  <c:v>162.94418374353162</c:v>
                </c:pt>
                <c:pt idx="2043">
                  <c:v>160.07047407452998</c:v>
                </c:pt>
                <c:pt idx="2044">
                  <c:v>158.51894374803101</c:v>
                </c:pt>
                <c:pt idx="2045">
                  <c:v>160.71008403040247</c:v>
                </c:pt>
                <c:pt idx="2046">
                  <c:v>157.15823176645614</c:v>
                </c:pt>
                <c:pt idx="2047">
                  <c:v>155.31052387939354</c:v>
                </c:pt>
                <c:pt idx="2048">
                  <c:v>162.20795430132989</c:v>
                </c:pt>
                <c:pt idx="2049">
                  <c:v>168.1624950340593</c:v>
                </c:pt>
                <c:pt idx="2050">
                  <c:v>166.82720032593957</c:v>
                </c:pt>
                <c:pt idx="2051">
                  <c:v>163.70241410587201</c:v>
                </c:pt>
                <c:pt idx="2052">
                  <c:v>164.47365202040601</c:v>
                </c:pt>
                <c:pt idx="2053">
                  <c:v>166.48439015432007</c:v>
                </c:pt>
                <c:pt idx="2054">
                  <c:v>162.74565903952004</c:v>
                </c:pt>
                <c:pt idx="2055">
                  <c:v>163.81244418015382</c:v>
                </c:pt>
                <c:pt idx="2056">
                  <c:v>164.30016881974871</c:v>
                </c:pt>
                <c:pt idx="2057">
                  <c:v>164.41788828539757</c:v>
                </c:pt>
                <c:pt idx="2058">
                  <c:v>164.01179571294975</c:v>
                </c:pt>
                <c:pt idx="2059">
                  <c:v>165.03007411463324</c:v>
                </c:pt>
                <c:pt idx="2060">
                  <c:v>164.21276191304952</c:v>
                </c:pt>
                <c:pt idx="2061">
                  <c:v>165.68313244108475</c:v>
                </c:pt>
                <c:pt idx="2062">
                  <c:v>164.85616974477804</c:v>
                </c:pt>
                <c:pt idx="2063">
                  <c:v>163.83163594487777</c:v>
                </c:pt>
                <c:pt idx="2064">
                  <c:v>166.1212105966294</c:v>
                </c:pt>
                <c:pt idx="2065">
                  <c:v>167.32440669900024</c:v>
                </c:pt>
                <c:pt idx="2066">
                  <c:v>165.25979878706528</c:v>
                </c:pt>
                <c:pt idx="2067">
                  <c:v>161.75431203405788</c:v>
                </c:pt>
                <c:pt idx="2068">
                  <c:v>127.17470145113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2BA-44E3-A977-1F0A78B17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3812992"/>
        <c:axId val="873814960"/>
      </c:lineChart>
      <c:lineChart>
        <c:grouping val="standard"/>
        <c:varyColors val="0"/>
        <c:ser>
          <c:idx val="1"/>
          <c:order val="1"/>
          <c:tx>
            <c:strRef>
              <c:f>Hárok1!$O$4</c:f>
              <c:strCache>
                <c:ptCount val="1"/>
                <c:pt idx="0">
                  <c:v>TTF D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árok1!$M$5:$M$2073</c:f>
              <c:numCache>
                <c:formatCode>m/d/yyyy</c:formatCode>
                <c:ptCount val="2069"/>
                <c:pt idx="0">
                  <c:v>42736</c:v>
                </c:pt>
                <c:pt idx="1">
                  <c:v>42737</c:v>
                </c:pt>
                <c:pt idx="2">
                  <c:v>42738</c:v>
                </c:pt>
                <c:pt idx="3">
                  <c:v>42739</c:v>
                </c:pt>
                <c:pt idx="4">
                  <c:v>42740</c:v>
                </c:pt>
                <c:pt idx="5">
                  <c:v>42741</c:v>
                </c:pt>
                <c:pt idx="6">
                  <c:v>42742</c:v>
                </c:pt>
                <c:pt idx="7">
                  <c:v>42743</c:v>
                </c:pt>
                <c:pt idx="8">
                  <c:v>42744</c:v>
                </c:pt>
                <c:pt idx="9">
                  <c:v>42745</c:v>
                </c:pt>
                <c:pt idx="10">
                  <c:v>42746</c:v>
                </c:pt>
                <c:pt idx="11">
                  <c:v>42747</c:v>
                </c:pt>
                <c:pt idx="12">
                  <c:v>42748</c:v>
                </c:pt>
                <c:pt idx="13">
                  <c:v>42749</c:v>
                </c:pt>
                <c:pt idx="14">
                  <c:v>42750</c:v>
                </c:pt>
                <c:pt idx="15">
                  <c:v>42751</c:v>
                </c:pt>
                <c:pt idx="16">
                  <c:v>42752</c:v>
                </c:pt>
                <c:pt idx="17">
                  <c:v>42753</c:v>
                </c:pt>
                <c:pt idx="18">
                  <c:v>42754</c:v>
                </c:pt>
                <c:pt idx="19">
                  <c:v>42755</c:v>
                </c:pt>
                <c:pt idx="20">
                  <c:v>42756</c:v>
                </c:pt>
                <c:pt idx="21">
                  <c:v>42757</c:v>
                </c:pt>
                <c:pt idx="22">
                  <c:v>42758</c:v>
                </c:pt>
                <c:pt idx="23">
                  <c:v>42759</c:v>
                </c:pt>
                <c:pt idx="24">
                  <c:v>42760</c:v>
                </c:pt>
                <c:pt idx="25">
                  <c:v>42761</c:v>
                </c:pt>
                <c:pt idx="26">
                  <c:v>42762</c:v>
                </c:pt>
                <c:pt idx="27">
                  <c:v>42763</c:v>
                </c:pt>
                <c:pt idx="28">
                  <c:v>42764</c:v>
                </c:pt>
                <c:pt idx="29">
                  <c:v>42765</c:v>
                </c:pt>
                <c:pt idx="30">
                  <c:v>42766</c:v>
                </c:pt>
                <c:pt idx="31">
                  <c:v>42767</c:v>
                </c:pt>
                <c:pt idx="32">
                  <c:v>42768</c:v>
                </c:pt>
                <c:pt idx="33">
                  <c:v>42769</c:v>
                </c:pt>
                <c:pt idx="34">
                  <c:v>42770</c:v>
                </c:pt>
                <c:pt idx="35">
                  <c:v>42771</c:v>
                </c:pt>
                <c:pt idx="36">
                  <c:v>42772</c:v>
                </c:pt>
                <c:pt idx="37">
                  <c:v>42773</c:v>
                </c:pt>
                <c:pt idx="38">
                  <c:v>42774</c:v>
                </c:pt>
                <c:pt idx="39">
                  <c:v>42775</c:v>
                </c:pt>
                <c:pt idx="40">
                  <c:v>42776</c:v>
                </c:pt>
                <c:pt idx="41">
                  <c:v>42777</c:v>
                </c:pt>
                <c:pt idx="42">
                  <c:v>42778</c:v>
                </c:pt>
                <c:pt idx="43">
                  <c:v>42779</c:v>
                </c:pt>
                <c:pt idx="44">
                  <c:v>42780</c:v>
                </c:pt>
                <c:pt idx="45">
                  <c:v>42781</c:v>
                </c:pt>
                <c:pt idx="46">
                  <c:v>42782</c:v>
                </c:pt>
                <c:pt idx="47">
                  <c:v>42783</c:v>
                </c:pt>
                <c:pt idx="48">
                  <c:v>42784</c:v>
                </c:pt>
                <c:pt idx="49">
                  <c:v>42785</c:v>
                </c:pt>
                <c:pt idx="50">
                  <c:v>42786</c:v>
                </c:pt>
                <c:pt idx="51">
                  <c:v>42787</c:v>
                </c:pt>
                <c:pt idx="52">
                  <c:v>42788</c:v>
                </c:pt>
                <c:pt idx="53">
                  <c:v>42789</c:v>
                </c:pt>
                <c:pt idx="54">
                  <c:v>42790</c:v>
                </c:pt>
                <c:pt idx="55">
                  <c:v>42791</c:v>
                </c:pt>
                <c:pt idx="56">
                  <c:v>42792</c:v>
                </c:pt>
                <c:pt idx="57">
                  <c:v>42793</c:v>
                </c:pt>
                <c:pt idx="58">
                  <c:v>42794</c:v>
                </c:pt>
                <c:pt idx="59">
                  <c:v>42795</c:v>
                </c:pt>
                <c:pt idx="60">
                  <c:v>42796</c:v>
                </c:pt>
                <c:pt idx="61">
                  <c:v>42797</c:v>
                </c:pt>
                <c:pt idx="62">
                  <c:v>42798</c:v>
                </c:pt>
                <c:pt idx="63">
                  <c:v>42799</c:v>
                </c:pt>
                <c:pt idx="64">
                  <c:v>42800</c:v>
                </c:pt>
                <c:pt idx="65">
                  <c:v>42801</c:v>
                </c:pt>
                <c:pt idx="66">
                  <c:v>42802</c:v>
                </c:pt>
                <c:pt idx="67">
                  <c:v>42803</c:v>
                </c:pt>
                <c:pt idx="68">
                  <c:v>42804</c:v>
                </c:pt>
                <c:pt idx="69">
                  <c:v>42805</c:v>
                </c:pt>
                <c:pt idx="70">
                  <c:v>42806</c:v>
                </c:pt>
                <c:pt idx="71">
                  <c:v>42807</c:v>
                </c:pt>
                <c:pt idx="72">
                  <c:v>42808</c:v>
                </c:pt>
                <c:pt idx="73">
                  <c:v>42809</c:v>
                </c:pt>
                <c:pt idx="74">
                  <c:v>42810</c:v>
                </c:pt>
                <c:pt idx="75">
                  <c:v>42811</c:v>
                </c:pt>
                <c:pt idx="76">
                  <c:v>42812</c:v>
                </c:pt>
                <c:pt idx="77">
                  <c:v>42813</c:v>
                </c:pt>
                <c:pt idx="78">
                  <c:v>42814</c:v>
                </c:pt>
                <c:pt idx="79">
                  <c:v>42815</c:v>
                </c:pt>
                <c:pt idx="80">
                  <c:v>42816</c:v>
                </c:pt>
                <c:pt idx="81">
                  <c:v>42817</c:v>
                </c:pt>
                <c:pt idx="82">
                  <c:v>42818</c:v>
                </c:pt>
                <c:pt idx="83">
                  <c:v>42819</c:v>
                </c:pt>
                <c:pt idx="84">
                  <c:v>42820</c:v>
                </c:pt>
                <c:pt idx="85">
                  <c:v>42821</c:v>
                </c:pt>
                <c:pt idx="86">
                  <c:v>42822</c:v>
                </c:pt>
                <c:pt idx="87">
                  <c:v>42823</c:v>
                </c:pt>
                <c:pt idx="88">
                  <c:v>42824</c:v>
                </c:pt>
                <c:pt idx="89">
                  <c:v>42825</c:v>
                </c:pt>
                <c:pt idx="90">
                  <c:v>42826</c:v>
                </c:pt>
                <c:pt idx="91">
                  <c:v>42827</c:v>
                </c:pt>
                <c:pt idx="92">
                  <c:v>42828</c:v>
                </c:pt>
                <c:pt idx="93">
                  <c:v>42829</c:v>
                </c:pt>
                <c:pt idx="94">
                  <c:v>42830</c:v>
                </c:pt>
                <c:pt idx="95">
                  <c:v>42831</c:v>
                </c:pt>
                <c:pt idx="96">
                  <c:v>42832</c:v>
                </c:pt>
                <c:pt idx="97">
                  <c:v>42833</c:v>
                </c:pt>
                <c:pt idx="98">
                  <c:v>42834</c:v>
                </c:pt>
                <c:pt idx="99">
                  <c:v>42835</c:v>
                </c:pt>
                <c:pt idx="100">
                  <c:v>42836</c:v>
                </c:pt>
                <c:pt idx="101">
                  <c:v>42837</c:v>
                </c:pt>
                <c:pt idx="102">
                  <c:v>42838</c:v>
                </c:pt>
                <c:pt idx="103">
                  <c:v>42839</c:v>
                </c:pt>
                <c:pt idx="104">
                  <c:v>42840</c:v>
                </c:pt>
                <c:pt idx="105">
                  <c:v>42841</c:v>
                </c:pt>
                <c:pt idx="106">
                  <c:v>42842</c:v>
                </c:pt>
                <c:pt idx="107">
                  <c:v>42843</c:v>
                </c:pt>
                <c:pt idx="108">
                  <c:v>42844</c:v>
                </c:pt>
                <c:pt idx="109">
                  <c:v>42845</c:v>
                </c:pt>
                <c:pt idx="110">
                  <c:v>42846</c:v>
                </c:pt>
                <c:pt idx="111">
                  <c:v>42847</c:v>
                </c:pt>
                <c:pt idx="112">
                  <c:v>42848</c:v>
                </c:pt>
                <c:pt idx="113">
                  <c:v>42849</c:v>
                </c:pt>
                <c:pt idx="114">
                  <c:v>42850</c:v>
                </c:pt>
                <c:pt idx="115">
                  <c:v>42851</c:v>
                </c:pt>
                <c:pt idx="116">
                  <c:v>42852</c:v>
                </c:pt>
                <c:pt idx="117">
                  <c:v>42853</c:v>
                </c:pt>
                <c:pt idx="118">
                  <c:v>42854</c:v>
                </c:pt>
                <c:pt idx="119">
                  <c:v>42855</c:v>
                </c:pt>
                <c:pt idx="120">
                  <c:v>42856</c:v>
                </c:pt>
                <c:pt idx="121">
                  <c:v>42857</c:v>
                </c:pt>
                <c:pt idx="122">
                  <c:v>42858</c:v>
                </c:pt>
                <c:pt idx="123">
                  <c:v>42859</c:v>
                </c:pt>
                <c:pt idx="124">
                  <c:v>42860</c:v>
                </c:pt>
                <c:pt idx="125">
                  <c:v>42861</c:v>
                </c:pt>
                <c:pt idx="126">
                  <c:v>42862</c:v>
                </c:pt>
                <c:pt idx="127">
                  <c:v>42863</c:v>
                </c:pt>
                <c:pt idx="128">
                  <c:v>42864</c:v>
                </c:pt>
                <c:pt idx="129">
                  <c:v>42865</c:v>
                </c:pt>
                <c:pt idx="130">
                  <c:v>42866</c:v>
                </c:pt>
                <c:pt idx="131">
                  <c:v>42867</c:v>
                </c:pt>
                <c:pt idx="132">
                  <c:v>42868</c:v>
                </c:pt>
                <c:pt idx="133">
                  <c:v>42869</c:v>
                </c:pt>
                <c:pt idx="134">
                  <c:v>42870</c:v>
                </c:pt>
                <c:pt idx="135">
                  <c:v>42871</c:v>
                </c:pt>
                <c:pt idx="136">
                  <c:v>42872</c:v>
                </c:pt>
                <c:pt idx="137">
                  <c:v>42873</c:v>
                </c:pt>
                <c:pt idx="138">
                  <c:v>42874</c:v>
                </c:pt>
                <c:pt idx="139">
                  <c:v>42875</c:v>
                </c:pt>
                <c:pt idx="140">
                  <c:v>42876</c:v>
                </c:pt>
                <c:pt idx="141">
                  <c:v>42877</c:v>
                </c:pt>
                <c:pt idx="142">
                  <c:v>42878</c:v>
                </c:pt>
                <c:pt idx="143">
                  <c:v>42879</c:v>
                </c:pt>
                <c:pt idx="144">
                  <c:v>42880</c:v>
                </c:pt>
                <c:pt idx="145">
                  <c:v>42881</c:v>
                </c:pt>
                <c:pt idx="146">
                  <c:v>42882</c:v>
                </c:pt>
                <c:pt idx="147">
                  <c:v>42883</c:v>
                </c:pt>
                <c:pt idx="148">
                  <c:v>42884</c:v>
                </c:pt>
                <c:pt idx="149">
                  <c:v>42885</c:v>
                </c:pt>
                <c:pt idx="150">
                  <c:v>42886</c:v>
                </c:pt>
                <c:pt idx="151">
                  <c:v>42887</c:v>
                </c:pt>
                <c:pt idx="152">
                  <c:v>42888</c:v>
                </c:pt>
                <c:pt idx="153">
                  <c:v>42889</c:v>
                </c:pt>
                <c:pt idx="154">
                  <c:v>42890</c:v>
                </c:pt>
                <c:pt idx="155">
                  <c:v>42891</c:v>
                </c:pt>
                <c:pt idx="156">
                  <c:v>42892</c:v>
                </c:pt>
                <c:pt idx="157">
                  <c:v>42893</c:v>
                </c:pt>
                <c:pt idx="158">
                  <c:v>42894</c:v>
                </c:pt>
                <c:pt idx="159">
                  <c:v>42895</c:v>
                </c:pt>
                <c:pt idx="160">
                  <c:v>42896</c:v>
                </c:pt>
                <c:pt idx="161">
                  <c:v>42897</c:v>
                </c:pt>
                <c:pt idx="162">
                  <c:v>42898</c:v>
                </c:pt>
                <c:pt idx="163">
                  <c:v>42899</c:v>
                </c:pt>
                <c:pt idx="164">
                  <c:v>42900</c:v>
                </c:pt>
                <c:pt idx="165">
                  <c:v>42901</c:v>
                </c:pt>
                <c:pt idx="166">
                  <c:v>42902</c:v>
                </c:pt>
                <c:pt idx="167">
                  <c:v>42903</c:v>
                </c:pt>
                <c:pt idx="168">
                  <c:v>42904</c:v>
                </c:pt>
                <c:pt idx="169">
                  <c:v>42905</c:v>
                </c:pt>
                <c:pt idx="170">
                  <c:v>42906</c:v>
                </c:pt>
                <c:pt idx="171">
                  <c:v>42907</c:v>
                </c:pt>
                <c:pt idx="172">
                  <c:v>42908</c:v>
                </c:pt>
                <c:pt idx="173">
                  <c:v>42909</c:v>
                </c:pt>
                <c:pt idx="174">
                  <c:v>42910</c:v>
                </c:pt>
                <c:pt idx="175">
                  <c:v>42911</c:v>
                </c:pt>
                <c:pt idx="176">
                  <c:v>42912</c:v>
                </c:pt>
                <c:pt idx="177">
                  <c:v>42913</c:v>
                </c:pt>
                <c:pt idx="178">
                  <c:v>42914</c:v>
                </c:pt>
                <c:pt idx="179">
                  <c:v>42915</c:v>
                </c:pt>
                <c:pt idx="180">
                  <c:v>42916</c:v>
                </c:pt>
                <c:pt idx="181">
                  <c:v>42917</c:v>
                </c:pt>
                <c:pt idx="182">
                  <c:v>42918</c:v>
                </c:pt>
                <c:pt idx="183">
                  <c:v>42919</c:v>
                </c:pt>
                <c:pt idx="184">
                  <c:v>42920</c:v>
                </c:pt>
                <c:pt idx="185">
                  <c:v>42921</c:v>
                </c:pt>
                <c:pt idx="186">
                  <c:v>42922</c:v>
                </c:pt>
                <c:pt idx="187">
                  <c:v>42923</c:v>
                </c:pt>
                <c:pt idx="188">
                  <c:v>42924</c:v>
                </c:pt>
                <c:pt idx="189">
                  <c:v>42925</c:v>
                </c:pt>
                <c:pt idx="190">
                  <c:v>42926</c:v>
                </c:pt>
                <c:pt idx="191">
                  <c:v>42927</c:v>
                </c:pt>
                <c:pt idx="192">
                  <c:v>42928</c:v>
                </c:pt>
                <c:pt idx="193">
                  <c:v>42929</c:v>
                </c:pt>
                <c:pt idx="194">
                  <c:v>42930</c:v>
                </c:pt>
                <c:pt idx="195">
                  <c:v>42931</c:v>
                </c:pt>
                <c:pt idx="196">
                  <c:v>42932</c:v>
                </c:pt>
                <c:pt idx="197">
                  <c:v>42933</c:v>
                </c:pt>
                <c:pt idx="198">
                  <c:v>42934</c:v>
                </c:pt>
                <c:pt idx="199">
                  <c:v>42935</c:v>
                </c:pt>
                <c:pt idx="200">
                  <c:v>42936</c:v>
                </c:pt>
                <c:pt idx="201">
                  <c:v>42937</c:v>
                </c:pt>
                <c:pt idx="202">
                  <c:v>42938</c:v>
                </c:pt>
                <c:pt idx="203">
                  <c:v>42939</c:v>
                </c:pt>
                <c:pt idx="204">
                  <c:v>42940</c:v>
                </c:pt>
                <c:pt idx="205">
                  <c:v>42941</c:v>
                </c:pt>
                <c:pt idx="206">
                  <c:v>42942</c:v>
                </c:pt>
                <c:pt idx="207">
                  <c:v>42943</c:v>
                </c:pt>
                <c:pt idx="208">
                  <c:v>42944</c:v>
                </c:pt>
                <c:pt idx="209">
                  <c:v>42945</c:v>
                </c:pt>
                <c:pt idx="210">
                  <c:v>42946</c:v>
                </c:pt>
                <c:pt idx="211">
                  <c:v>42947</c:v>
                </c:pt>
                <c:pt idx="212">
                  <c:v>42948</c:v>
                </c:pt>
                <c:pt idx="213">
                  <c:v>42949</c:v>
                </c:pt>
                <c:pt idx="214">
                  <c:v>42950</c:v>
                </c:pt>
                <c:pt idx="215">
                  <c:v>42951</c:v>
                </c:pt>
                <c:pt idx="216">
                  <c:v>42952</c:v>
                </c:pt>
                <c:pt idx="217">
                  <c:v>42953</c:v>
                </c:pt>
                <c:pt idx="218">
                  <c:v>42954</c:v>
                </c:pt>
                <c:pt idx="219">
                  <c:v>42955</c:v>
                </c:pt>
                <c:pt idx="220">
                  <c:v>42956</c:v>
                </c:pt>
                <c:pt idx="221">
                  <c:v>42957</c:v>
                </c:pt>
                <c:pt idx="222">
                  <c:v>42958</c:v>
                </c:pt>
                <c:pt idx="223">
                  <c:v>42959</c:v>
                </c:pt>
                <c:pt idx="224">
                  <c:v>42960</c:v>
                </c:pt>
                <c:pt idx="225">
                  <c:v>42961</c:v>
                </c:pt>
                <c:pt idx="226">
                  <c:v>42962</c:v>
                </c:pt>
                <c:pt idx="227">
                  <c:v>42963</c:v>
                </c:pt>
                <c:pt idx="228">
                  <c:v>42964</c:v>
                </c:pt>
                <c:pt idx="229">
                  <c:v>42965</c:v>
                </c:pt>
                <c:pt idx="230">
                  <c:v>42966</c:v>
                </c:pt>
                <c:pt idx="231">
                  <c:v>42967</c:v>
                </c:pt>
                <c:pt idx="232">
                  <c:v>42968</c:v>
                </c:pt>
                <c:pt idx="233">
                  <c:v>42969</c:v>
                </c:pt>
                <c:pt idx="234">
                  <c:v>42970</c:v>
                </c:pt>
                <c:pt idx="235">
                  <c:v>42971</c:v>
                </c:pt>
                <c:pt idx="236">
                  <c:v>42972</c:v>
                </c:pt>
                <c:pt idx="237">
                  <c:v>42973</c:v>
                </c:pt>
                <c:pt idx="238">
                  <c:v>42974</c:v>
                </c:pt>
                <c:pt idx="239">
                  <c:v>42975</c:v>
                </c:pt>
                <c:pt idx="240">
                  <c:v>42976</c:v>
                </c:pt>
                <c:pt idx="241">
                  <c:v>42977</c:v>
                </c:pt>
                <c:pt idx="242">
                  <c:v>42978</c:v>
                </c:pt>
                <c:pt idx="243">
                  <c:v>42979</c:v>
                </c:pt>
                <c:pt idx="244">
                  <c:v>42980</c:v>
                </c:pt>
                <c:pt idx="245">
                  <c:v>42981</c:v>
                </c:pt>
                <c:pt idx="246">
                  <c:v>42982</c:v>
                </c:pt>
                <c:pt idx="247">
                  <c:v>42983</c:v>
                </c:pt>
                <c:pt idx="248">
                  <c:v>42984</c:v>
                </c:pt>
                <c:pt idx="249">
                  <c:v>42985</c:v>
                </c:pt>
                <c:pt idx="250">
                  <c:v>42986</c:v>
                </c:pt>
                <c:pt idx="251">
                  <c:v>42987</c:v>
                </c:pt>
                <c:pt idx="252">
                  <c:v>42988</c:v>
                </c:pt>
                <c:pt idx="253">
                  <c:v>42989</c:v>
                </c:pt>
                <c:pt idx="254">
                  <c:v>42990</c:v>
                </c:pt>
                <c:pt idx="255">
                  <c:v>42991</c:v>
                </c:pt>
                <c:pt idx="256">
                  <c:v>42992</c:v>
                </c:pt>
                <c:pt idx="257">
                  <c:v>42993</c:v>
                </c:pt>
                <c:pt idx="258">
                  <c:v>42994</c:v>
                </c:pt>
                <c:pt idx="259">
                  <c:v>42995</c:v>
                </c:pt>
                <c:pt idx="260">
                  <c:v>42996</c:v>
                </c:pt>
                <c:pt idx="261">
                  <c:v>42997</c:v>
                </c:pt>
                <c:pt idx="262">
                  <c:v>42998</c:v>
                </c:pt>
                <c:pt idx="263">
                  <c:v>42999</c:v>
                </c:pt>
                <c:pt idx="264">
                  <c:v>43000</c:v>
                </c:pt>
                <c:pt idx="265">
                  <c:v>43001</c:v>
                </c:pt>
                <c:pt idx="266">
                  <c:v>43002</c:v>
                </c:pt>
                <c:pt idx="267">
                  <c:v>43003</c:v>
                </c:pt>
                <c:pt idx="268">
                  <c:v>43004</c:v>
                </c:pt>
                <c:pt idx="269">
                  <c:v>43005</c:v>
                </c:pt>
                <c:pt idx="270">
                  <c:v>43006</c:v>
                </c:pt>
                <c:pt idx="271">
                  <c:v>43007</c:v>
                </c:pt>
                <c:pt idx="272">
                  <c:v>43008</c:v>
                </c:pt>
                <c:pt idx="273">
                  <c:v>43009</c:v>
                </c:pt>
                <c:pt idx="274">
                  <c:v>43010</c:v>
                </c:pt>
                <c:pt idx="275">
                  <c:v>43011</c:v>
                </c:pt>
                <c:pt idx="276">
                  <c:v>43012</c:v>
                </c:pt>
                <c:pt idx="277">
                  <c:v>43013</c:v>
                </c:pt>
                <c:pt idx="278">
                  <c:v>43014</c:v>
                </c:pt>
                <c:pt idx="279">
                  <c:v>43015</c:v>
                </c:pt>
                <c:pt idx="280">
                  <c:v>43016</c:v>
                </c:pt>
                <c:pt idx="281">
                  <c:v>43017</c:v>
                </c:pt>
                <c:pt idx="282">
                  <c:v>43018</c:v>
                </c:pt>
                <c:pt idx="283">
                  <c:v>43019</c:v>
                </c:pt>
                <c:pt idx="284">
                  <c:v>43020</c:v>
                </c:pt>
                <c:pt idx="285">
                  <c:v>43021</c:v>
                </c:pt>
                <c:pt idx="286">
                  <c:v>43022</c:v>
                </c:pt>
                <c:pt idx="287">
                  <c:v>43023</c:v>
                </c:pt>
                <c:pt idx="288">
                  <c:v>43024</c:v>
                </c:pt>
                <c:pt idx="289">
                  <c:v>43025</c:v>
                </c:pt>
                <c:pt idx="290">
                  <c:v>43026</c:v>
                </c:pt>
                <c:pt idx="291">
                  <c:v>43027</c:v>
                </c:pt>
                <c:pt idx="292">
                  <c:v>43028</c:v>
                </c:pt>
                <c:pt idx="293">
                  <c:v>43029</c:v>
                </c:pt>
                <c:pt idx="294">
                  <c:v>43030</c:v>
                </c:pt>
                <c:pt idx="295">
                  <c:v>43031</c:v>
                </c:pt>
                <c:pt idx="296">
                  <c:v>43032</c:v>
                </c:pt>
                <c:pt idx="297">
                  <c:v>43033</c:v>
                </c:pt>
                <c:pt idx="298">
                  <c:v>43034</c:v>
                </c:pt>
                <c:pt idx="299">
                  <c:v>43035</c:v>
                </c:pt>
                <c:pt idx="300">
                  <c:v>43036</c:v>
                </c:pt>
                <c:pt idx="301">
                  <c:v>43037</c:v>
                </c:pt>
                <c:pt idx="302">
                  <c:v>43038</c:v>
                </c:pt>
                <c:pt idx="303">
                  <c:v>43039</c:v>
                </c:pt>
                <c:pt idx="304">
                  <c:v>43040</c:v>
                </c:pt>
                <c:pt idx="305">
                  <c:v>43041</c:v>
                </c:pt>
                <c:pt idx="306">
                  <c:v>43042</c:v>
                </c:pt>
                <c:pt idx="307">
                  <c:v>43043</c:v>
                </c:pt>
                <c:pt idx="308">
                  <c:v>43044</c:v>
                </c:pt>
                <c:pt idx="309">
                  <c:v>43045</c:v>
                </c:pt>
                <c:pt idx="310">
                  <c:v>43046</c:v>
                </c:pt>
                <c:pt idx="311">
                  <c:v>43047</c:v>
                </c:pt>
                <c:pt idx="312">
                  <c:v>43048</c:v>
                </c:pt>
                <c:pt idx="313">
                  <c:v>43049</c:v>
                </c:pt>
                <c:pt idx="314">
                  <c:v>43050</c:v>
                </c:pt>
                <c:pt idx="315">
                  <c:v>43051</c:v>
                </c:pt>
                <c:pt idx="316">
                  <c:v>43052</c:v>
                </c:pt>
                <c:pt idx="317">
                  <c:v>43053</c:v>
                </c:pt>
                <c:pt idx="318">
                  <c:v>43054</c:v>
                </c:pt>
                <c:pt idx="319">
                  <c:v>43055</c:v>
                </c:pt>
                <c:pt idx="320">
                  <c:v>43056</c:v>
                </c:pt>
                <c:pt idx="321">
                  <c:v>43057</c:v>
                </c:pt>
                <c:pt idx="322">
                  <c:v>43058</c:v>
                </c:pt>
                <c:pt idx="323">
                  <c:v>43059</c:v>
                </c:pt>
                <c:pt idx="324">
                  <c:v>43060</c:v>
                </c:pt>
                <c:pt idx="325">
                  <c:v>43061</c:v>
                </c:pt>
                <c:pt idx="326">
                  <c:v>43062</c:v>
                </c:pt>
                <c:pt idx="327">
                  <c:v>43063</c:v>
                </c:pt>
                <c:pt idx="328">
                  <c:v>43064</c:v>
                </c:pt>
                <c:pt idx="329">
                  <c:v>43065</c:v>
                </c:pt>
                <c:pt idx="330">
                  <c:v>43066</c:v>
                </c:pt>
                <c:pt idx="331">
                  <c:v>43067</c:v>
                </c:pt>
                <c:pt idx="332">
                  <c:v>43068</c:v>
                </c:pt>
                <c:pt idx="333">
                  <c:v>43069</c:v>
                </c:pt>
                <c:pt idx="334">
                  <c:v>43070</c:v>
                </c:pt>
                <c:pt idx="335">
                  <c:v>43071</c:v>
                </c:pt>
                <c:pt idx="336">
                  <c:v>43072</c:v>
                </c:pt>
                <c:pt idx="337">
                  <c:v>43073</c:v>
                </c:pt>
                <c:pt idx="338">
                  <c:v>43074</c:v>
                </c:pt>
                <c:pt idx="339">
                  <c:v>43075</c:v>
                </c:pt>
                <c:pt idx="340">
                  <c:v>43076</c:v>
                </c:pt>
                <c:pt idx="341">
                  <c:v>43077</c:v>
                </c:pt>
                <c:pt idx="342">
                  <c:v>43078</c:v>
                </c:pt>
                <c:pt idx="343">
                  <c:v>43079</c:v>
                </c:pt>
                <c:pt idx="344">
                  <c:v>43080</c:v>
                </c:pt>
                <c:pt idx="345">
                  <c:v>43081</c:v>
                </c:pt>
                <c:pt idx="346">
                  <c:v>43082</c:v>
                </c:pt>
                <c:pt idx="347">
                  <c:v>43083</c:v>
                </c:pt>
                <c:pt idx="348">
                  <c:v>43084</c:v>
                </c:pt>
                <c:pt idx="349">
                  <c:v>43085</c:v>
                </c:pt>
                <c:pt idx="350">
                  <c:v>43086</c:v>
                </c:pt>
                <c:pt idx="351">
                  <c:v>43087</c:v>
                </c:pt>
                <c:pt idx="352">
                  <c:v>43088</c:v>
                </c:pt>
                <c:pt idx="353">
                  <c:v>43089</c:v>
                </c:pt>
                <c:pt idx="354">
                  <c:v>43090</c:v>
                </c:pt>
                <c:pt idx="355">
                  <c:v>43091</c:v>
                </c:pt>
                <c:pt idx="356">
                  <c:v>43092</c:v>
                </c:pt>
                <c:pt idx="357">
                  <c:v>43093</c:v>
                </c:pt>
                <c:pt idx="358">
                  <c:v>43094</c:v>
                </c:pt>
                <c:pt idx="359">
                  <c:v>43095</c:v>
                </c:pt>
                <c:pt idx="360">
                  <c:v>43096</c:v>
                </c:pt>
                <c:pt idx="361">
                  <c:v>43097</c:v>
                </c:pt>
                <c:pt idx="362">
                  <c:v>43098</c:v>
                </c:pt>
                <c:pt idx="363">
                  <c:v>43099</c:v>
                </c:pt>
                <c:pt idx="364">
                  <c:v>43100</c:v>
                </c:pt>
                <c:pt idx="365">
                  <c:v>43101</c:v>
                </c:pt>
                <c:pt idx="366">
                  <c:v>43102</c:v>
                </c:pt>
                <c:pt idx="367">
                  <c:v>43103</c:v>
                </c:pt>
                <c:pt idx="368">
                  <c:v>43104</c:v>
                </c:pt>
                <c:pt idx="369">
                  <c:v>43105</c:v>
                </c:pt>
                <c:pt idx="370">
                  <c:v>43106</c:v>
                </c:pt>
                <c:pt idx="371">
                  <c:v>43107</c:v>
                </c:pt>
                <c:pt idx="372">
                  <c:v>43108</c:v>
                </c:pt>
                <c:pt idx="373">
                  <c:v>43109</c:v>
                </c:pt>
                <c:pt idx="374">
                  <c:v>43110</c:v>
                </c:pt>
                <c:pt idx="375">
                  <c:v>43111</c:v>
                </c:pt>
                <c:pt idx="376">
                  <c:v>43112</c:v>
                </c:pt>
                <c:pt idx="377">
                  <c:v>43113</c:v>
                </c:pt>
                <c:pt idx="378">
                  <c:v>43114</c:v>
                </c:pt>
                <c:pt idx="379">
                  <c:v>43115</c:v>
                </c:pt>
                <c:pt idx="380">
                  <c:v>43116</c:v>
                </c:pt>
                <c:pt idx="381">
                  <c:v>43117</c:v>
                </c:pt>
                <c:pt idx="382">
                  <c:v>43118</c:v>
                </c:pt>
                <c:pt idx="383">
                  <c:v>43119</c:v>
                </c:pt>
                <c:pt idx="384">
                  <c:v>43120</c:v>
                </c:pt>
                <c:pt idx="385">
                  <c:v>43121</c:v>
                </c:pt>
                <c:pt idx="386">
                  <c:v>43122</c:v>
                </c:pt>
                <c:pt idx="387">
                  <c:v>43123</c:v>
                </c:pt>
                <c:pt idx="388">
                  <c:v>43124</c:v>
                </c:pt>
                <c:pt idx="389">
                  <c:v>43125</c:v>
                </c:pt>
                <c:pt idx="390">
                  <c:v>43126</c:v>
                </c:pt>
                <c:pt idx="391">
                  <c:v>43127</c:v>
                </c:pt>
                <c:pt idx="392">
                  <c:v>43128</c:v>
                </c:pt>
                <c:pt idx="393">
                  <c:v>43129</c:v>
                </c:pt>
                <c:pt idx="394">
                  <c:v>43130</c:v>
                </c:pt>
                <c:pt idx="395">
                  <c:v>43131</c:v>
                </c:pt>
                <c:pt idx="396">
                  <c:v>43132</c:v>
                </c:pt>
                <c:pt idx="397">
                  <c:v>43133</c:v>
                </c:pt>
                <c:pt idx="398">
                  <c:v>43134</c:v>
                </c:pt>
                <c:pt idx="399">
                  <c:v>43135</c:v>
                </c:pt>
                <c:pt idx="400">
                  <c:v>43136</c:v>
                </c:pt>
                <c:pt idx="401">
                  <c:v>43137</c:v>
                </c:pt>
                <c:pt idx="402">
                  <c:v>43138</c:v>
                </c:pt>
                <c:pt idx="403">
                  <c:v>43139</c:v>
                </c:pt>
                <c:pt idx="404">
                  <c:v>43140</c:v>
                </c:pt>
                <c:pt idx="405">
                  <c:v>43141</c:v>
                </c:pt>
                <c:pt idx="406">
                  <c:v>43142</c:v>
                </c:pt>
                <c:pt idx="407">
                  <c:v>43143</c:v>
                </c:pt>
                <c:pt idx="408">
                  <c:v>43144</c:v>
                </c:pt>
                <c:pt idx="409">
                  <c:v>43145</c:v>
                </c:pt>
                <c:pt idx="410">
                  <c:v>43146</c:v>
                </c:pt>
                <c:pt idx="411">
                  <c:v>43147</c:v>
                </c:pt>
                <c:pt idx="412">
                  <c:v>43148</c:v>
                </c:pt>
                <c:pt idx="413">
                  <c:v>43149</c:v>
                </c:pt>
                <c:pt idx="414">
                  <c:v>43150</c:v>
                </c:pt>
                <c:pt idx="415">
                  <c:v>43151</c:v>
                </c:pt>
                <c:pt idx="416">
                  <c:v>43152</c:v>
                </c:pt>
                <c:pt idx="417">
                  <c:v>43153</c:v>
                </c:pt>
                <c:pt idx="418">
                  <c:v>43154</c:v>
                </c:pt>
                <c:pt idx="419">
                  <c:v>43155</c:v>
                </c:pt>
                <c:pt idx="420">
                  <c:v>43156</c:v>
                </c:pt>
                <c:pt idx="421">
                  <c:v>43157</c:v>
                </c:pt>
                <c:pt idx="422">
                  <c:v>43158</c:v>
                </c:pt>
                <c:pt idx="423">
                  <c:v>43159</c:v>
                </c:pt>
                <c:pt idx="424">
                  <c:v>43160</c:v>
                </c:pt>
                <c:pt idx="425">
                  <c:v>43161</c:v>
                </c:pt>
                <c:pt idx="426">
                  <c:v>43162</c:v>
                </c:pt>
                <c:pt idx="427">
                  <c:v>43163</c:v>
                </c:pt>
                <c:pt idx="428">
                  <c:v>43164</c:v>
                </c:pt>
                <c:pt idx="429">
                  <c:v>43165</c:v>
                </c:pt>
                <c:pt idx="430">
                  <c:v>43166</c:v>
                </c:pt>
                <c:pt idx="431">
                  <c:v>43167</c:v>
                </c:pt>
                <c:pt idx="432">
                  <c:v>43168</c:v>
                </c:pt>
                <c:pt idx="433">
                  <c:v>43169</c:v>
                </c:pt>
                <c:pt idx="434">
                  <c:v>43170</c:v>
                </c:pt>
                <c:pt idx="435">
                  <c:v>43171</c:v>
                </c:pt>
                <c:pt idx="436">
                  <c:v>43172</c:v>
                </c:pt>
                <c:pt idx="437">
                  <c:v>43173</c:v>
                </c:pt>
                <c:pt idx="438">
                  <c:v>43174</c:v>
                </c:pt>
                <c:pt idx="439">
                  <c:v>43175</c:v>
                </c:pt>
                <c:pt idx="440">
                  <c:v>43176</c:v>
                </c:pt>
                <c:pt idx="441">
                  <c:v>43177</c:v>
                </c:pt>
                <c:pt idx="442">
                  <c:v>43178</c:v>
                </c:pt>
                <c:pt idx="443">
                  <c:v>43179</c:v>
                </c:pt>
                <c:pt idx="444">
                  <c:v>43180</c:v>
                </c:pt>
                <c:pt idx="445">
                  <c:v>43181</c:v>
                </c:pt>
                <c:pt idx="446">
                  <c:v>43182</c:v>
                </c:pt>
                <c:pt idx="447">
                  <c:v>43183</c:v>
                </c:pt>
                <c:pt idx="448">
                  <c:v>43184</c:v>
                </c:pt>
                <c:pt idx="449">
                  <c:v>43185</c:v>
                </c:pt>
                <c:pt idx="450">
                  <c:v>43186</c:v>
                </c:pt>
                <c:pt idx="451">
                  <c:v>43187</c:v>
                </c:pt>
                <c:pt idx="452">
                  <c:v>43188</c:v>
                </c:pt>
                <c:pt idx="453">
                  <c:v>43189</c:v>
                </c:pt>
                <c:pt idx="454">
                  <c:v>43190</c:v>
                </c:pt>
                <c:pt idx="455">
                  <c:v>43191</c:v>
                </c:pt>
                <c:pt idx="456">
                  <c:v>43192</c:v>
                </c:pt>
                <c:pt idx="457">
                  <c:v>43193</c:v>
                </c:pt>
                <c:pt idx="458">
                  <c:v>43194</c:v>
                </c:pt>
                <c:pt idx="459">
                  <c:v>43195</c:v>
                </c:pt>
                <c:pt idx="460">
                  <c:v>43196</c:v>
                </c:pt>
                <c:pt idx="461">
                  <c:v>43197</c:v>
                </c:pt>
                <c:pt idx="462">
                  <c:v>43198</c:v>
                </c:pt>
                <c:pt idx="463">
                  <c:v>43199</c:v>
                </c:pt>
                <c:pt idx="464">
                  <c:v>43200</c:v>
                </c:pt>
                <c:pt idx="465">
                  <c:v>43201</c:v>
                </c:pt>
                <c:pt idx="466">
                  <c:v>43202</c:v>
                </c:pt>
                <c:pt idx="467">
                  <c:v>43203</c:v>
                </c:pt>
                <c:pt idx="468">
                  <c:v>43204</c:v>
                </c:pt>
                <c:pt idx="469">
                  <c:v>43205</c:v>
                </c:pt>
                <c:pt idx="470">
                  <c:v>43206</c:v>
                </c:pt>
                <c:pt idx="471">
                  <c:v>43207</c:v>
                </c:pt>
                <c:pt idx="472">
                  <c:v>43208</c:v>
                </c:pt>
                <c:pt idx="473">
                  <c:v>43209</c:v>
                </c:pt>
                <c:pt idx="474">
                  <c:v>43210</c:v>
                </c:pt>
                <c:pt idx="475">
                  <c:v>43211</c:v>
                </c:pt>
                <c:pt idx="476">
                  <c:v>43212</c:v>
                </c:pt>
                <c:pt idx="477">
                  <c:v>43213</c:v>
                </c:pt>
                <c:pt idx="478">
                  <c:v>43214</c:v>
                </c:pt>
                <c:pt idx="479">
                  <c:v>43215</c:v>
                </c:pt>
                <c:pt idx="480">
                  <c:v>43216</c:v>
                </c:pt>
                <c:pt idx="481">
                  <c:v>43217</c:v>
                </c:pt>
                <c:pt idx="482">
                  <c:v>43218</c:v>
                </c:pt>
                <c:pt idx="483">
                  <c:v>43219</c:v>
                </c:pt>
                <c:pt idx="484">
                  <c:v>43220</c:v>
                </c:pt>
                <c:pt idx="485">
                  <c:v>43221</c:v>
                </c:pt>
                <c:pt idx="486">
                  <c:v>43222</c:v>
                </c:pt>
                <c:pt idx="487">
                  <c:v>43223</c:v>
                </c:pt>
                <c:pt idx="488">
                  <c:v>43224</c:v>
                </c:pt>
                <c:pt idx="489">
                  <c:v>43225</c:v>
                </c:pt>
                <c:pt idx="490">
                  <c:v>43226</c:v>
                </c:pt>
                <c:pt idx="491">
                  <c:v>43227</c:v>
                </c:pt>
                <c:pt idx="492">
                  <c:v>43228</c:v>
                </c:pt>
                <c:pt idx="493">
                  <c:v>43229</c:v>
                </c:pt>
                <c:pt idx="494">
                  <c:v>43230</c:v>
                </c:pt>
                <c:pt idx="495">
                  <c:v>43231</c:v>
                </c:pt>
                <c:pt idx="496">
                  <c:v>43232</c:v>
                </c:pt>
                <c:pt idx="497">
                  <c:v>43233</c:v>
                </c:pt>
                <c:pt idx="498">
                  <c:v>43234</c:v>
                </c:pt>
                <c:pt idx="499">
                  <c:v>43235</c:v>
                </c:pt>
                <c:pt idx="500">
                  <c:v>43236</c:v>
                </c:pt>
                <c:pt idx="501">
                  <c:v>43237</c:v>
                </c:pt>
                <c:pt idx="502">
                  <c:v>43238</c:v>
                </c:pt>
                <c:pt idx="503">
                  <c:v>43239</c:v>
                </c:pt>
                <c:pt idx="504">
                  <c:v>43240</c:v>
                </c:pt>
                <c:pt idx="505">
                  <c:v>43241</c:v>
                </c:pt>
                <c:pt idx="506">
                  <c:v>43242</c:v>
                </c:pt>
                <c:pt idx="507">
                  <c:v>43243</c:v>
                </c:pt>
                <c:pt idx="508">
                  <c:v>43244</c:v>
                </c:pt>
                <c:pt idx="509">
                  <c:v>43245</c:v>
                </c:pt>
                <c:pt idx="510">
                  <c:v>43246</c:v>
                </c:pt>
                <c:pt idx="511">
                  <c:v>43247</c:v>
                </c:pt>
                <c:pt idx="512">
                  <c:v>43248</c:v>
                </c:pt>
                <c:pt idx="513">
                  <c:v>43249</c:v>
                </c:pt>
                <c:pt idx="514">
                  <c:v>43250</c:v>
                </c:pt>
                <c:pt idx="515">
                  <c:v>43251</c:v>
                </c:pt>
                <c:pt idx="516">
                  <c:v>43252</c:v>
                </c:pt>
                <c:pt idx="517">
                  <c:v>43253</c:v>
                </c:pt>
                <c:pt idx="518">
                  <c:v>43254</c:v>
                </c:pt>
                <c:pt idx="519">
                  <c:v>43255</c:v>
                </c:pt>
                <c:pt idx="520">
                  <c:v>43256</c:v>
                </c:pt>
                <c:pt idx="521">
                  <c:v>43257</c:v>
                </c:pt>
                <c:pt idx="522">
                  <c:v>43258</c:v>
                </c:pt>
                <c:pt idx="523">
                  <c:v>43259</c:v>
                </c:pt>
                <c:pt idx="524">
                  <c:v>43260</c:v>
                </c:pt>
                <c:pt idx="525">
                  <c:v>43261</c:v>
                </c:pt>
                <c:pt idx="526">
                  <c:v>43262</c:v>
                </c:pt>
                <c:pt idx="527">
                  <c:v>43263</c:v>
                </c:pt>
                <c:pt idx="528">
                  <c:v>43264</c:v>
                </c:pt>
                <c:pt idx="529">
                  <c:v>43265</c:v>
                </c:pt>
                <c:pt idx="530">
                  <c:v>43266</c:v>
                </c:pt>
                <c:pt idx="531">
                  <c:v>43267</c:v>
                </c:pt>
                <c:pt idx="532">
                  <c:v>43268</c:v>
                </c:pt>
                <c:pt idx="533">
                  <c:v>43269</c:v>
                </c:pt>
                <c:pt idx="534">
                  <c:v>43270</c:v>
                </c:pt>
                <c:pt idx="535">
                  <c:v>43271</c:v>
                </c:pt>
                <c:pt idx="536">
                  <c:v>43272</c:v>
                </c:pt>
                <c:pt idx="537">
                  <c:v>43273</c:v>
                </c:pt>
                <c:pt idx="538">
                  <c:v>43274</c:v>
                </c:pt>
                <c:pt idx="539">
                  <c:v>43275</c:v>
                </c:pt>
                <c:pt idx="540">
                  <c:v>43276</c:v>
                </c:pt>
                <c:pt idx="541">
                  <c:v>43277</c:v>
                </c:pt>
                <c:pt idx="542">
                  <c:v>43278</c:v>
                </c:pt>
                <c:pt idx="543">
                  <c:v>43279</c:v>
                </c:pt>
                <c:pt idx="544">
                  <c:v>43280</c:v>
                </c:pt>
                <c:pt idx="545">
                  <c:v>43281</c:v>
                </c:pt>
                <c:pt idx="546">
                  <c:v>43282</c:v>
                </c:pt>
                <c:pt idx="547">
                  <c:v>43283</c:v>
                </c:pt>
                <c:pt idx="548">
                  <c:v>43284</c:v>
                </c:pt>
                <c:pt idx="549">
                  <c:v>43285</c:v>
                </c:pt>
                <c:pt idx="550">
                  <c:v>43286</c:v>
                </c:pt>
                <c:pt idx="551">
                  <c:v>43287</c:v>
                </c:pt>
                <c:pt idx="552">
                  <c:v>43288</c:v>
                </c:pt>
                <c:pt idx="553">
                  <c:v>43289</c:v>
                </c:pt>
                <c:pt idx="554">
                  <c:v>43290</c:v>
                </c:pt>
                <c:pt idx="555">
                  <c:v>43291</c:v>
                </c:pt>
                <c:pt idx="556">
                  <c:v>43292</c:v>
                </c:pt>
                <c:pt idx="557">
                  <c:v>43293</c:v>
                </c:pt>
                <c:pt idx="558">
                  <c:v>43294</c:v>
                </c:pt>
                <c:pt idx="559">
                  <c:v>43295</c:v>
                </c:pt>
                <c:pt idx="560">
                  <c:v>43296</c:v>
                </c:pt>
                <c:pt idx="561">
                  <c:v>43297</c:v>
                </c:pt>
                <c:pt idx="562">
                  <c:v>43298</c:v>
                </c:pt>
                <c:pt idx="563">
                  <c:v>43299</c:v>
                </c:pt>
                <c:pt idx="564">
                  <c:v>43300</c:v>
                </c:pt>
                <c:pt idx="565">
                  <c:v>43301</c:v>
                </c:pt>
                <c:pt idx="566">
                  <c:v>43302</c:v>
                </c:pt>
                <c:pt idx="567">
                  <c:v>43303</c:v>
                </c:pt>
                <c:pt idx="568">
                  <c:v>43304</c:v>
                </c:pt>
                <c:pt idx="569">
                  <c:v>43305</c:v>
                </c:pt>
                <c:pt idx="570">
                  <c:v>43306</c:v>
                </c:pt>
                <c:pt idx="571">
                  <c:v>43307</c:v>
                </c:pt>
                <c:pt idx="572">
                  <c:v>43308</c:v>
                </c:pt>
                <c:pt idx="573">
                  <c:v>43309</c:v>
                </c:pt>
                <c:pt idx="574">
                  <c:v>43310</c:v>
                </c:pt>
                <c:pt idx="575">
                  <c:v>43311</c:v>
                </c:pt>
                <c:pt idx="576">
                  <c:v>43312</c:v>
                </c:pt>
                <c:pt idx="577">
                  <c:v>43313</c:v>
                </c:pt>
                <c:pt idx="578">
                  <c:v>43314</c:v>
                </c:pt>
                <c:pt idx="579">
                  <c:v>43315</c:v>
                </c:pt>
                <c:pt idx="580">
                  <c:v>43316</c:v>
                </c:pt>
                <c:pt idx="581">
                  <c:v>43317</c:v>
                </c:pt>
                <c:pt idx="582">
                  <c:v>43318</c:v>
                </c:pt>
                <c:pt idx="583">
                  <c:v>43319</c:v>
                </c:pt>
                <c:pt idx="584">
                  <c:v>43320</c:v>
                </c:pt>
                <c:pt idx="585">
                  <c:v>43321</c:v>
                </c:pt>
                <c:pt idx="586">
                  <c:v>43322</c:v>
                </c:pt>
                <c:pt idx="587">
                  <c:v>43323</c:v>
                </c:pt>
                <c:pt idx="588">
                  <c:v>43324</c:v>
                </c:pt>
                <c:pt idx="589">
                  <c:v>43325</c:v>
                </c:pt>
                <c:pt idx="590">
                  <c:v>43326</c:v>
                </c:pt>
                <c:pt idx="591">
                  <c:v>43327</c:v>
                </c:pt>
                <c:pt idx="592">
                  <c:v>43328</c:v>
                </c:pt>
                <c:pt idx="593">
                  <c:v>43329</c:v>
                </c:pt>
                <c:pt idx="594">
                  <c:v>43330</c:v>
                </c:pt>
                <c:pt idx="595">
                  <c:v>43331</c:v>
                </c:pt>
                <c:pt idx="596">
                  <c:v>43332</c:v>
                </c:pt>
                <c:pt idx="597">
                  <c:v>43333</c:v>
                </c:pt>
                <c:pt idx="598">
                  <c:v>43334</c:v>
                </c:pt>
                <c:pt idx="599">
                  <c:v>43335</c:v>
                </c:pt>
                <c:pt idx="600">
                  <c:v>43336</c:v>
                </c:pt>
                <c:pt idx="601">
                  <c:v>43337</c:v>
                </c:pt>
                <c:pt idx="602">
                  <c:v>43338</c:v>
                </c:pt>
                <c:pt idx="603">
                  <c:v>43339</c:v>
                </c:pt>
                <c:pt idx="604">
                  <c:v>43340</c:v>
                </c:pt>
                <c:pt idx="605">
                  <c:v>43341</c:v>
                </c:pt>
                <c:pt idx="606">
                  <c:v>43342</c:v>
                </c:pt>
                <c:pt idx="607">
                  <c:v>43343</c:v>
                </c:pt>
                <c:pt idx="608">
                  <c:v>43344</c:v>
                </c:pt>
                <c:pt idx="609">
                  <c:v>43345</c:v>
                </c:pt>
                <c:pt idx="610">
                  <c:v>43346</c:v>
                </c:pt>
                <c:pt idx="611">
                  <c:v>43347</c:v>
                </c:pt>
                <c:pt idx="612">
                  <c:v>43348</c:v>
                </c:pt>
                <c:pt idx="613">
                  <c:v>43349</c:v>
                </c:pt>
                <c:pt idx="614">
                  <c:v>43350</c:v>
                </c:pt>
                <c:pt idx="615">
                  <c:v>43351</c:v>
                </c:pt>
                <c:pt idx="616">
                  <c:v>43352</c:v>
                </c:pt>
                <c:pt idx="617">
                  <c:v>43353</c:v>
                </c:pt>
                <c:pt idx="618">
                  <c:v>43354</c:v>
                </c:pt>
                <c:pt idx="619">
                  <c:v>43355</c:v>
                </c:pt>
                <c:pt idx="620">
                  <c:v>43356</c:v>
                </c:pt>
                <c:pt idx="621">
                  <c:v>43357</c:v>
                </c:pt>
                <c:pt idx="622">
                  <c:v>43358</c:v>
                </c:pt>
                <c:pt idx="623">
                  <c:v>43359</c:v>
                </c:pt>
                <c:pt idx="624">
                  <c:v>43360</c:v>
                </c:pt>
                <c:pt idx="625">
                  <c:v>43361</c:v>
                </c:pt>
                <c:pt idx="626">
                  <c:v>43362</c:v>
                </c:pt>
                <c:pt idx="627">
                  <c:v>43363</c:v>
                </c:pt>
                <c:pt idx="628">
                  <c:v>43364</c:v>
                </c:pt>
                <c:pt idx="629">
                  <c:v>43365</c:v>
                </c:pt>
                <c:pt idx="630">
                  <c:v>43366</c:v>
                </c:pt>
                <c:pt idx="631">
                  <c:v>43367</c:v>
                </c:pt>
                <c:pt idx="632">
                  <c:v>43368</c:v>
                </c:pt>
                <c:pt idx="633">
                  <c:v>43369</c:v>
                </c:pt>
                <c:pt idx="634">
                  <c:v>43370</c:v>
                </c:pt>
                <c:pt idx="635">
                  <c:v>43371</c:v>
                </c:pt>
                <c:pt idx="636">
                  <c:v>43372</c:v>
                </c:pt>
                <c:pt idx="637">
                  <c:v>43373</c:v>
                </c:pt>
                <c:pt idx="638">
                  <c:v>43374</c:v>
                </c:pt>
                <c:pt idx="639">
                  <c:v>43375</c:v>
                </c:pt>
                <c:pt idx="640">
                  <c:v>43376</c:v>
                </c:pt>
                <c:pt idx="641">
                  <c:v>43377</c:v>
                </c:pt>
                <c:pt idx="642">
                  <c:v>43378</c:v>
                </c:pt>
                <c:pt idx="643">
                  <c:v>43379</c:v>
                </c:pt>
                <c:pt idx="644">
                  <c:v>43380</c:v>
                </c:pt>
                <c:pt idx="645">
                  <c:v>43381</c:v>
                </c:pt>
                <c:pt idx="646">
                  <c:v>43382</c:v>
                </c:pt>
                <c:pt idx="647">
                  <c:v>43383</c:v>
                </c:pt>
                <c:pt idx="648">
                  <c:v>43384</c:v>
                </c:pt>
                <c:pt idx="649">
                  <c:v>43385</c:v>
                </c:pt>
                <c:pt idx="650">
                  <c:v>43386</c:v>
                </c:pt>
                <c:pt idx="651">
                  <c:v>43387</c:v>
                </c:pt>
                <c:pt idx="652">
                  <c:v>43388</c:v>
                </c:pt>
                <c:pt idx="653">
                  <c:v>43389</c:v>
                </c:pt>
                <c:pt idx="654">
                  <c:v>43390</c:v>
                </c:pt>
                <c:pt idx="655">
                  <c:v>43391</c:v>
                </c:pt>
                <c:pt idx="656">
                  <c:v>43392</c:v>
                </c:pt>
                <c:pt idx="657">
                  <c:v>43393</c:v>
                </c:pt>
                <c:pt idx="658">
                  <c:v>43394</c:v>
                </c:pt>
                <c:pt idx="659">
                  <c:v>43395</c:v>
                </c:pt>
                <c:pt idx="660">
                  <c:v>43396</c:v>
                </c:pt>
                <c:pt idx="661">
                  <c:v>43397</c:v>
                </c:pt>
                <c:pt idx="662">
                  <c:v>43398</c:v>
                </c:pt>
                <c:pt idx="663">
                  <c:v>43399</c:v>
                </c:pt>
                <c:pt idx="664">
                  <c:v>43400</c:v>
                </c:pt>
                <c:pt idx="665">
                  <c:v>43401</c:v>
                </c:pt>
                <c:pt idx="666">
                  <c:v>43402</c:v>
                </c:pt>
                <c:pt idx="667">
                  <c:v>43403</c:v>
                </c:pt>
                <c:pt idx="668">
                  <c:v>43404</c:v>
                </c:pt>
                <c:pt idx="669">
                  <c:v>43405</c:v>
                </c:pt>
                <c:pt idx="670">
                  <c:v>43406</c:v>
                </c:pt>
                <c:pt idx="671">
                  <c:v>43407</c:v>
                </c:pt>
                <c:pt idx="672">
                  <c:v>43408</c:v>
                </c:pt>
                <c:pt idx="673">
                  <c:v>43409</c:v>
                </c:pt>
                <c:pt idx="674">
                  <c:v>43410</c:v>
                </c:pt>
                <c:pt idx="675">
                  <c:v>43411</c:v>
                </c:pt>
                <c:pt idx="676">
                  <c:v>43412</c:v>
                </c:pt>
                <c:pt idx="677">
                  <c:v>43413</c:v>
                </c:pt>
                <c:pt idx="678">
                  <c:v>43414</c:v>
                </c:pt>
                <c:pt idx="679">
                  <c:v>43415</c:v>
                </c:pt>
                <c:pt idx="680">
                  <c:v>43416</c:v>
                </c:pt>
                <c:pt idx="681">
                  <c:v>43417</c:v>
                </c:pt>
                <c:pt idx="682">
                  <c:v>43418</c:v>
                </c:pt>
                <c:pt idx="683">
                  <c:v>43419</c:v>
                </c:pt>
                <c:pt idx="684">
                  <c:v>43420</c:v>
                </c:pt>
                <c:pt idx="685">
                  <c:v>43421</c:v>
                </c:pt>
                <c:pt idx="686">
                  <c:v>43422</c:v>
                </c:pt>
                <c:pt idx="687">
                  <c:v>43423</c:v>
                </c:pt>
                <c:pt idx="688">
                  <c:v>43424</c:v>
                </c:pt>
                <c:pt idx="689">
                  <c:v>43425</c:v>
                </c:pt>
                <c:pt idx="690">
                  <c:v>43426</c:v>
                </c:pt>
                <c:pt idx="691">
                  <c:v>43427</c:v>
                </c:pt>
                <c:pt idx="692">
                  <c:v>43428</c:v>
                </c:pt>
                <c:pt idx="693">
                  <c:v>43429</c:v>
                </c:pt>
                <c:pt idx="694">
                  <c:v>43430</c:v>
                </c:pt>
                <c:pt idx="695">
                  <c:v>43431</c:v>
                </c:pt>
                <c:pt idx="696">
                  <c:v>43432</c:v>
                </c:pt>
                <c:pt idx="697">
                  <c:v>43433</c:v>
                </c:pt>
                <c:pt idx="698">
                  <c:v>43434</c:v>
                </c:pt>
                <c:pt idx="699">
                  <c:v>43435</c:v>
                </c:pt>
                <c:pt idx="700">
                  <c:v>43436</c:v>
                </c:pt>
                <c:pt idx="701">
                  <c:v>43437</c:v>
                </c:pt>
                <c:pt idx="702">
                  <c:v>43438</c:v>
                </c:pt>
                <c:pt idx="703">
                  <c:v>43439</c:v>
                </c:pt>
                <c:pt idx="704">
                  <c:v>43440</c:v>
                </c:pt>
                <c:pt idx="705">
                  <c:v>43441</c:v>
                </c:pt>
                <c:pt idx="706">
                  <c:v>43442</c:v>
                </c:pt>
                <c:pt idx="707">
                  <c:v>43443</c:v>
                </c:pt>
                <c:pt idx="708">
                  <c:v>43444</c:v>
                </c:pt>
                <c:pt idx="709">
                  <c:v>43445</c:v>
                </c:pt>
                <c:pt idx="710">
                  <c:v>43446</c:v>
                </c:pt>
                <c:pt idx="711">
                  <c:v>43447</c:v>
                </c:pt>
                <c:pt idx="712">
                  <c:v>43448</c:v>
                </c:pt>
                <c:pt idx="713">
                  <c:v>43449</c:v>
                </c:pt>
                <c:pt idx="714">
                  <c:v>43450</c:v>
                </c:pt>
                <c:pt idx="715">
                  <c:v>43451</c:v>
                </c:pt>
                <c:pt idx="716">
                  <c:v>43452</c:v>
                </c:pt>
                <c:pt idx="717">
                  <c:v>43453</c:v>
                </c:pt>
                <c:pt idx="718">
                  <c:v>43454</c:v>
                </c:pt>
                <c:pt idx="719">
                  <c:v>43455</c:v>
                </c:pt>
                <c:pt idx="720">
                  <c:v>43456</c:v>
                </c:pt>
                <c:pt idx="721">
                  <c:v>43457</c:v>
                </c:pt>
                <c:pt idx="722">
                  <c:v>43458</c:v>
                </c:pt>
                <c:pt idx="723">
                  <c:v>43459</c:v>
                </c:pt>
                <c:pt idx="724">
                  <c:v>43460</c:v>
                </c:pt>
                <c:pt idx="725">
                  <c:v>43461</c:v>
                </c:pt>
                <c:pt idx="726">
                  <c:v>43462</c:v>
                </c:pt>
                <c:pt idx="727">
                  <c:v>43463</c:v>
                </c:pt>
                <c:pt idx="728">
                  <c:v>43464</c:v>
                </c:pt>
                <c:pt idx="729">
                  <c:v>43465</c:v>
                </c:pt>
                <c:pt idx="730">
                  <c:v>43466</c:v>
                </c:pt>
                <c:pt idx="731">
                  <c:v>43467</c:v>
                </c:pt>
                <c:pt idx="732">
                  <c:v>43468</c:v>
                </c:pt>
                <c:pt idx="733">
                  <c:v>43469</c:v>
                </c:pt>
                <c:pt idx="734">
                  <c:v>43470</c:v>
                </c:pt>
                <c:pt idx="735">
                  <c:v>43471</c:v>
                </c:pt>
                <c:pt idx="736">
                  <c:v>43472</c:v>
                </c:pt>
                <c:pt idx="737">
                  <c:v>43473</c:v>
                </c:pt>
                <c:pt idx="738">
                  <c:v>43474</c:v>
                </c:pt>
                <c:pt idx="739">
                  <c:v>43475</c:v>
                </c:pt>
                <c:pt idx="740">
                  <c:v>43476</c:v>
                </c:pt>
                <c:pt idx="741">
                  <c:v>43477</c:v>
                </c:pt>
                <c:pt idx="742">
                  <c:v>43478</c:v>
                </c:pt>
                <c:pt idx="743">
                  <c:v>43479</c:v>
                </c:pt>
                <c:pt idx="744">
                  <c:v>43480</c:v>
                </c:pt>
                <c:pt idx="745">
                  <c:v>43481</c:v>
                </c:pt>
                <c:pt idx="746">
                  <c:v>43482</c:v>
                </c:pt>
                <c:pt idx="747">
                  <c:v>43483</c:v>
                </c:pt>
                <c:pt idx="748">
                  <c:v>43484</c:v>
                </c:pt>
                <c:pt idx="749">
                  <c:v>43485</c:v>
                </c:pt>
                <c:pt idx="750">
                  <c:v>43486</c:v>
                </c:pt>
                <c:pt idx="751">
                  <c:v>43487</c:v>
                </c:pt>
                <c:pt idx="752">
                  <c:v>43488</c:v>
                </c:pt>
                <c:pt idx="753">
                  <c:v>43489</c:v>
                </c:pt>
                <c:pt idx="754">
                  <c:v>43490</c:v>
                </c:pt>
                <c:pt idx="755">
                  <c:v>43491</c:v>
                </c:pt>
                <c:pt idx="756">
                  <c:v>43492</c:v>
                </c:pt>
                <c:pt idx="757">
                  <c:v>43493</c:v>
                </c:pt>
                <c:pt idx="758">
                  <c:v>43494</c:v>
                </c:pt>
                <c:pt idx="759">
                  <c:v>43495</c:v>
                </c:pt>
                <c:pt idx="760">
                  <c:v>43496</c:v>
                </c:pt>
                <c:pt idx="761">
                  <c:v>43497</c:v>
                </c:pt>
                <c:pt idx="762">
                  <c:v>43498</c:v>
                </c:pt>
                <c:pt idx="763">
                  <c:v>43499</c:v>
                </c:pt>
                <c:pt idx="764">
                  <c:v>43500</c:v>
                </c:pt>
                <c:pt idx="765">
                  <c:v>43501</c:v>
                </c:pt>
                <c:pt idx="766">
                  <c:v>43502</c:v>
                </c:pt>
                <c:pt idx="767">
                  <c:v>43503</c:v>
                </c:pt>
                <c:pt idx="768">
                  <c:v>43504</c:v>
                </c:pt>
                <c:pt idx="769">
                  <c:v>43505</c:v>
                </c:pt>
                <c:pt idx="770">
                  <c:v>43506</c:v>
                </c:pt>
                <c:pt idx="771">
                  <c:v>43507</c:v>
                </c:pt>
                <c:pt idx="772">
                  <c:v>43508</c:v>
                </c:pt>
                <c:pt idx="773">
                  <c:v>43509</c:v>
                </c:pt>
                <c:pt idx="774">
                  <c:v>43510</c:v>
                </c:pt>
                <c:pt idx="775">
                  <c:v>43511</c:v>
                </c:pt>
                <c:pt idx="776">
                  <c:v>43512</c:v>
                </c:pt>
                <c:pt idx="777">
                  <c:v>43513</c:v>
                </c:pt>
                <c:pt idx="778">
                  <c:v>43514</c:v>
                </c:pt>
                <c:pt idx="779">
                  <c:v>43515</c:v>
                </c:pt>
                <c:pt idx="780">
                  <c:v>43516</c:v>
                </c:pt>
                <c:pt idx="781">
                  <c:v>43517</c:v>
                </c:pt>
                <c:pt idx="782">
                  <c:v>43518</c:v>
                </c:pt>
                <c:pt idx="783">
                  <c:v>43519</c:v>
                </c:pt>
                <c:pt idx="784">
                  <c:v>43520</c:v>
                </c:pt>
                <c:pt idx="785">
                  <c:v>43521</c:v>
                </c:pt>
                <c:pt idx="786">
                  <c:v>43522</c:v>
                </c:pt>
                <c:pt idx="787">
                  <c:v>43523</c:v>
                </c:pt>
                <c:pt idx="788">
                  <c:v>43524</c:v>
                </c:pt>
                <c:pt idx="789">
                  <c:v>43525</c:v>
                </c:pt>
                <c:pt idx="790">
                  <c:v>43526</c:v>
                </c:pt>
                <c:pt idx="791">
                  <c:v>43527</c:v>
                </c:pt>
                <c:pt idx="792">
                  <c:v>43528</c:v>
                </c:pt>
                <c:pt idx="793">
                  <c:v>43529</c:v>
                </c:pt>
                <c:pt idx="794">
                  <c:v>43530</c:v>
                </c:pt>
                <c:pt idx="795">
                  <c:v>43531</c:v>
                </c:pt>
                <c:pt idx="796">
                  <c:v>43532</c:v>
                </c:pt>
                <c:pt idx="797">
                  <c:v>43533</c:v>
                </c:pt>
                <c:pt idx="798">
                  <c:v>43534</c:v>
                </c:pt>
                <c:pt idx="799">
                  <c:v>43535</c:v>
                </c:pt>
                <c:pt idx="800">
                  <c:v>43536</c:v>
                </c:pt>
                <c:pt idx="801">
                  <c:v>43537</c:v>
                </c:pt>
                <c:pt idx="802">
                  <c:v>43538</c:v>
                </c:pt>
                <c:pt idx="803">
                  <c:v>43539</c:v>
                </c:pt>
                <c:pt idx="804">
                  <c:v>43540</c:v>
                </c:pt>
                <c:pt idx="805">
                  <c:v>43541</c:v>
                </c:pt>
                <c:pt idx="806">
                  <c:v>43542</c:v>
                </c:pt>
                <c:pt idx="807">
                  <c:v>43543</c:v>
                </c:pt>
                <c:pt idx="808">
                  <c:v>43544</c:v>
                </c:pt>
                <c:pt idx="809">
                  <c:v>43545</c:v>
                </c:pt>
                <c:pt idx="810">
                  <c:v>43546</c:v>
                </c:pt>
                <c:pt idx="811">
                  <c:v>43547</c:v>
                </c:pt>
                <c:pt idx="812">
                  <c:v>43548</c:v>
                </c:pt>
                <c:pt idx="813">
                  <c:v>43549</c:v>
                </c:pt>
                <c:pt idx="814">
                  <c:v>43550</c:v>
                </c:pt>
                <c:pt idx="815">
                  <c:v>43551</c:v>
                </c:pt>
                <c:pt idx="816">
                  <c:v>43552</c:v>
                </c:pt>
                <c:pt idx="817">
                  <c:v>43553</c:v>
                </c:pt>
                <c:pt idx="818">
                  <c:v>43554</c:v>
                </c:pt>
                <c:pt idx="819">
                  <c:v>43555</c:v>
                </c:pt>
                <c:pt idx="820">
                  <c:v>43556</c:v>
                </c:pt>
                <c:pt idx="821">
                  <c:v>43557</c:v>
                </c:pt>
                <c:pt idx="822">
                  <c:v>43558</c:v>
                </c:pt>
                <c:pt idx="823">
                  <c:v>43559</c:v>
                </c:pt>
                <c:pt idx="824">
                  <c:v>43560</c:v>
                </c:pt>
                <c:pt idx="825">
                  <c:v>43561</c:v>
                </c:pt>
                <c:pt idx="826">
                  <c:v>43562</c:v>
                </c:pt>
                <c:pt idx="827">
                  <c:v>43563</c:v>
                </c:pt>
                <c:pt idx="828">
                  <c:v>43564</c:v>
                </c:pt>
                <c:pt idx="829">
                  <c:v>43565</c:v>
                </c:pt>
                <c:pt idx="830">
                  <c:v>43566</c:v>
                </c:pt>
                <c:pt idx="831">
                  <c:v>43567</c:v>
                </c:pt>
                <c:pt idx="832">
                  <c:v>43568</c:v>
                </c:pt>
                <c:pt idx="833">
                  <c:v>43569</c:v>
                </c:pt>
                <c:pt idx="834">
                  <c:v>43570</c:v>
                </c:pt>
                <c:pt idx="835">
                  <c:v>43571</c:v>
                </c:pt>
                <c:pt idx="836">
                  <c:v>43572</c:v>
                </c:pt>
                <c:pt idx="837">
                  <c:v>43573</c:v>
                </c:pt>
                <c:pt idx="838">
                  <c:v>43574</c:v>
                </c:pt>
                <c:pt idx="839">
                  <c:v>43575</c:v>
                </c:pt>
                <c:pt idx="840">
                  <c:v>43576</c:v>
                </c:pt>
                <c:pt idx="841">
                  <c:v>43577</c:v>
                </c:pt>
                <c:pt idx="842">
                  <c:v>43578</c:v>
                </c:pt>
                <c:pt idx="843">
                  <c:v>43579</c:v>
                </c:pt>
                <c:pt idx="844">
                  <c:v>43580</c:v>
                </c:pt>
                <c:pt idx="845">
                  <c:v>43581</c:v>
                </c:pt>
                <c:pt idx="846">
                  <c:v>43582</c:v>
                </c:pt>
                <c:pt idx="847">
                  <c:v>43583</c:v>
                </c:pt>
                <c:pt idx="848">
                  <c:v>43584</c:v>
                </c:pt>
                <c:pt idx="849">
                  <c:v>43585</c:v>
                </c:pt>
                <c:pt idx="850">
                  <c:v>43586</c:v>
                </c:pt>
                <c:pt idx="851">
                  <c:v>43587</c:v>
                </c:pt>
                <c:pt idx="852">
                  <c:v>43588</c:v>
                </c:pt>
                <c:pt idx="853">
                  <c:v>43589</c:v>
                </c:pt>
                <c:pt idx="854">
                  <c:v>43590</c:v>
                </c:pt>
                <c:pt idx="855">
                  <c:v>43591</c:v>
                </c:pt>
                <c:pt idx="856">
                  <c:v>43592</c:v>
                </c:pt>
                <c:pt idx="857">
                  <c:v>43593</c:v>
                </c:pt>
                <c:pt idx="858">
                  <c:v>43594</c:v>
                </c:pt>
                <c:pt idx="859">
                  <c:v>43595</c:v>
                </c:pt>
                <c:pt idx="860">
                  <c:v>43596</c:v>
                </c:pt>
                <c:pt idx="861">
                  <c:v>43597</c:v>
                </c:pt>
                <c:pt idx="862">
                  <c:v>43598</c:v>
                </c:pt>
                <c:pt idx="863">
                  <c:v>43599</c:v>
                </c:pt>
                <c:pt idx="864">
                  <c:v>43600</c:v>
                </c:pt>
                <c:pt idx="865">
                  <c:v>43601</c:v>
                </c:pt>
                <c:pt idx="866">
                  <c:v>43602</c:v>
                </c:pt>
                <c:pt idx="867">
                  <c:v>43603</c:v>
                </c:pt>
                <c:pt idx="868">
                  <c:v>43604</c:v>
                </c:pt>
                <c:pt idx="869">
                  <c:v>43605</c:v>
                </c:pt>
                <c:pt idx="870">
                  <c:v>43606</c:v>
                </c:pt>
                <c:pt idx="871">
                  <c:v>43607</c:v>
                </c:pt>
                <c:pt idx="872">
                  <c:v>43608</c:v>
                </c:pt>
                <c:pt idx="873">
                  <c:v>43609</c:v>
                </c:pt>
                <c:pt idx="874">
                  <c:v>43610</c:v>
                </c:pt>
                <c:pt idx="875">
                  <c:v>43611</c:v>
                </c:pt>
                <c:pt idx="876">
                  <c:v>43612</c:v>
                </c:pt>
                <c:pt idx="877">
                  <c:v>43613</c:v>
                </c:pt>
                <c:pt idx="878">
                  <c:v>43614</c:v>
                </c:pt>
                <c:pt idx="879">
                  <c:v>43615</c:v>
                </c:pt>
                <c:pt idx="880">
                  <c:v>43616</c:v>
                </c:pt>
                <c:pt idx="881">
                  <c:v>43617</c:v>
                </c:pt>
                <c:pt idx="882">
                  <c:v>43618</c:v>
                </c:pt>
                <c:pt idx="883">
                  <c:v>43619</c:v>
                </c:pt>
                <c:pt idx="884">
                  <c:v>43620</c:v>
                </c:pt>
                <c:pt idx="885">
                  <c:v>43621</c:v>
                </c:pt>
                <c:pt idx="886">
                  <c:v>43622</c:v>
                </c:pt>
                <c:pt idx="887">
                  <c:v>43623</c:v>
                </c:pt>
                <c:pt idx="888">
                  <c:v>43624</c:v>
                </c:pt>
                <c:pt idx="889">
                  <c:v>43625</c:v>
                </c:pt>
                <c:pt idx="890">
                  <c:v>43626</c:v>
                </c:pt>
                <c:pt idx="891">
                  <c:v>43627</c:v>
                </c:pt>
                <c:pt idx="892">
                  <c:v>43628</c:v>
                </c:pt>
                <c:pt idx="893">
                  <c:v>43629</c:v>
                </c:pt>
                <c:pt idx="894">
                  <c:v>43630</c:v>
                </c:pt>
                <c:pt idx="895">
                  <c:v>43631</c:v>
                </c:pt>
                <c:pt idx="896">
                  <c:v>43632</c:v>
                </c:pt>
                <c:pt idx="897">
                  <c:v>43633</c:v>
                </c:pt>
                <c:pt idx="898">
                  <c:v>43634</c:v>
                </c:pt>
                <c:pt idx="899">
                  <c:v>43635</c:v>
                </c:pt>
                <c:pt idx="900">
                  <c:v>43636</c:v>
                </c:pt>
                <c:pt idx="901">
                  <c:v>43637</c:v>
                </c:pt>
                <c:pt idx="902">
                  <c:v>43638</c:v>
                </c:pt>
                <c:pt idx="903">
                  <c:v>43639</c:v>
                </c:pt>
                <c:pt idx="904">
                  <c:v>43640</c:v>
                </c:pt>
                <c:pt idx="905">
                  <c:v>43641</c:v>
                </c:pt>
                <c:pt idx="906">
                  <c:v>43642</c:v>
                </c:pt>
                <c:pt idx="907">
                  <c:v>43643</c:v>
                </c:pt>
                <c:pt idx="908">
                  <c:v>43644</c:v>
                </c:pt>
                <c:pt idx="909">
                  <c:v>43645</c:v>
                </c:pt>
                <c:pt idx="910">
                  <c:v>43646</c:v>
                </c:pt>
                <c:pt idx="911">
                  <c:v>43647</c:v>
                </c:pt>
                <c:pt idx="912">
                  <c:v>43648</c:v>
                </c:pt>
                <c:pt idx="913">
                  <c:v>43649</c:v>
                </c:pt>
                <c:pt idx="914">
                  <c:v>43650</c:v>
                </c:pt>
                <c:pt idx="915">
                  <c:v>43651</c:v>
                </c:pt>
                <c:pt idx="916">
                  <c:v>43652</c:v>
                </c:pt>
                <c:pt idx="917">
                  <c:v>43653</c:v>
                </c:pt>
                <c:pt idx="918">
                  <c:v>43654</c:v>
                </c:pt>
                <c:pt idx="919">
                  <c:v>43655</c:v>
                </c:pt>
                <c:pt idx="920">
                  <c:v>43656</c:v>
                </c:pt>
                <c:pt idx="921">
                  <c:v>43657</c:v>
                </c:pt>
                <c:pt idx="922">
                  <c:v>43658</c:v>
                </c:pt>
                <c:pt idx="923">
                  <c:v>43659</c:v>
                </c:pt>
                <c:pt idx="924">
                  <c:v>43660</c:v>
                </c:pt>
                <c:pt idx="925">
                  <c:v>43661</c:v>
                </c:pt>
                <c:pt idx="926">
                  <c:v>43662</c:v>
                </c:pt>
                <c:pt idx="927">
                  <c:v>43663</c:v>
                </c:pt>
                <c:pt idx="928">
                  <c:v>43664</c:v>
                </c:pt>
                <c:pt idx="929">
                  <c:v>43665</c:v>
                </c:pt>
                <c:pt idx="930">
                  <c:v>43666</c:v>
                </c:pt>
                <c:pt idx="931">
                  <c:v>43667</c:v>
                </c:pt>
                <c:pt idx="932">
                  <c:v>43668</c:v>
                </c:pt>
                <c:pt idx="933">
                  <c:v>43669</c:v>
                </c:pt>
                <c:pt idx="934">
                  <c:v>43670</c:v>
                </c:pt>
                <c:pt idx="935">
                  <c:v>43671</c:v>
                </c:pt>
                <c:pt idx="936">
                  <c:v>43672</c:v>
                </c:pt>
                <c:pt idx="937">
                  <c:v>43673</c:v>
                </c:pt>
                <c:pt idx="938">
                  <c:v>43674</c:v>
                </c:pt>
                <c:pt idx="939">
                  <c:v>43675</c:v>
                </c:pt>
                <c:pt idx="940">
                  <c:v>43676</c:v>
                </c:pt>
                <c:pt idx="941">
                  <c:v>43677</c:v>
                </c:pt>
                <c:pt idx="942">
                  <c:v>43678</c:v>
                </c:pt>
                <c:pt idx="943">
                  <c:v>43679</c:v>
                </c:pt>
                <c:pt idx="944">
                  <c:v>43680</c:v>
                </c:pt>
                <c:pt idx="945">
                  <c:v>43681</c:v>
                </c:pt>
                <c:pt idx="946">
                  <c:v>43682</c:v>
                </c:pt>
                <c:pt idx="947">
                  <c:v>43683</c:v>
                </c:pt>
                <c:pt idx="948">
                  <c:v>43684</c:v>
                </c:pt>
                <c:pt idx="949">
                  <c:v>43685</c:v>
                </c:pt>
                <c:pt idx="950">
                  <c:v>43686</c:v>
                </c:pt>
                <c:pt idx="951">
                  <c:v>43687</c:v>
                </c:pt>
                <c:pt idx="952">
                  <c:v>43688</c:v>
                </c:pt>
                <c:pt idx="953">
                  <c:v>43689</c:v>
                </c:pt>
                <c:pt idx="954">
                  <c:v>43690</c:v>
                </c:pt>
                <c:pt idx="955">
                  <c:v>43691</c:v>
                </c:pt>
                <c:pt idx="956">
                  <c:v>43692</c:v>
                </c:pt>
                <c:pt idx="957">
                  <c:v>43693</c:v>
                </c:pt>
                <c:pt idx="958">
                  <c:v>43694</c:v>
                </c:pt>
                <c:pt idx="959">
                  <c:v>43695</c:v>
                </c:pt>
                <c:pt idx="960">
                  <c:v>43696</c:v>
                </c:pt>
                <c:pt idx="961">
                  <c:v>43697</c:v>
                </c:pt>
                <c:pt idx="962">
                  <c:v>43698</c:v>
                </c:pt>
                <c:pt idx="963">
                  <c:v>43699</c:v>
                </c:pt>
                <c:pt idx="964">
                  <c:v>43700</c:v>
                </c:pt>
                <c:pt idx="965">
                  <c:v>43701</c:v>
                </c:pt>
                <c:pt idx="966">
                  <c:v>43702</c:v>
                </c:pt>
                <c:pt idx="967">
                  <c:v>43703</c:v>
                </c:pt>
                <c:pt idx="968">
                  <c:v>43704</c:v>
                </c:pt>
                <c:pt idx="969">
                  <c:v>43705</c:v>
                </c:pt>
                <c:pt idx="970">
                  <c:v>43706</c:v>
                </c:pt>
                <c:pt idx="971">
                  <c:v>43707</c:v>
                </c:pt>
                <c:pt idx="972">
                  <c:v>43708</c:v>
                </c:pt>
                <c:pt idx="973">
                  <c:v>43709</c:v>
                </c:pt>
                <c:pt idx="974">
                  <c:v>43710</c:v>
                </c:pt>
                <c:pt idx="975">
                  <c:v>43711</c:v>
                </c:pt>
                <c:pt idx="976">
                  <c:v>43712</c:v>
                </c:pt>
                <c:pt idx="977">
                  <c:v>43713</c:v>
                </c:pt>
                <c:pt idx="978">
                  <c:v>43714</c:v>
                </c:pt>
                <c:pt idx="979">
                  <c:v>43715</c:v>
                </c:pt>
                <c:pt idx="980">
                  <c:v>43716</c:v>
                </c:pt>
                <c:pt idx="981">
                  <c:v>43717</c:v>
                </c:pt>
                <c:pt idx="982">
                  <c:v>43718</c:v>
                </c:pt>
                <c:pt idx="983">
                  <c:v>43719</c:v>
                </c:pt>
                <c:pt idx="984">
                  <c:v>43720</c:v>
                </c:pt>
                <c:pt idx="985">
                  <c:v>43721</c:v>
                </c:pt>
                <c:pt idx="986">
                  <c:v>43722</c:v>
                </c:pt>
                <c:pt idx="987">
                  <c:v>43723</c:v>
                </c:pt>
                <c:pt idx="988">
                  <c:v>43724</c:v>
                </c:pt>
                <c:pt idx="989">
                  <c:v>43725</c:v>
                </c:pt>
                <c:pt idx="990">
                  <c:v>43726</c:v>
                </c:pt>
                <c:pt idx="991">
                  <c:v>43727</c:v>
                </c:pt>
                <c:pt idx="992">
                  <c:v>43728</c:v>
                </c:pt>
                <c:pt idx="993">
                  <c:v>43729</c:v>
                </c:pt>
                <c:pt idx="994">
                  <c:v>43730</c:v>
                </c:pt>
                <c:pt idx="995">
                  <c:v>43731</c:v>
                </c:pt>
                <c:pt idx="996">
                  <c:v>43732</c:v>
                </c:pt>
                <c:pt idx="997">
                  <c:v>43733</c:v>
                </c:pt>
                <c:pt idx="998">
                  <c:v>43734</c:v>
                </c:pt>
                <c:pt idx="999">
                  <c:v>43735</c:v>
                </c:pt>
                <c:pt idx="1000">
                  <c:v>43736</c:v>
                </c:pt>
                <c:pt idx="1001">
                  <c:v>43737</c:v>
                </c:pt>
                <c:pt idx="1002">
                  <c:v>43738</c:v>
                </c:pt>
                <c:pt idx="1003">
                  <c:v>43739</c:v>
                </c:pt>
                <c:pt idx="1004">
                  <c:v>43740</c:v>
                </c:pt>
                <c:pt idx="1005">
                  <c:v>43741</c:v>
                </c:pt>
                <c:pt idx="1006">
                  <c:v>43742</c:v>
                </c:pt>
                <c:pt idx="1007">
                  <c:v>43743</c:v>
                </c:pt>
                <c:pt idx="1008">
                  <c:v>43744</c:v>
                </c:pt>
                <c:pt idx="1009">
                  <c:v>43745</c:v>
                </c:pt>
                <c:pt idx="1010">
                  <c:v>43746</c:v>
                </c:pt>
                <c:pt idx="1011">
                  <c:v>43747</c:v>
                </c:pt>
                <c:pt idx="1012">
                  <c:v>43748</c:v>
                </c:pt>
                <c:pt idx="1013">
                  <c:v>43749</c:v>
                </c:pt>
                <c:pt idx="1014">
                  <c:v>43750</c:v>
                </c:pt>
                <c:pt idx="1015">
                  <c:v>43751</c:v>
                </c:pt>
                <c:pt idx="1016">
                  <c:v>43752</c:v>
                </c:pt>
                <c:pt idx="1017">
                  <c:v>43753</c:v>
                </c:pt>
                <c:pt idx="1018">
                  <c:v>43754</c:v>
                </c:pt>
                <c:pt idx="1019">
                  <c:v>43755</c:v>
                </c:pt>
                <c:pt idx="1020">
                  <c:v>43756</c:v>
                </c:pt>
                <c:pt idx="1021">
                  <c:v>43757</c:v>
                </c:pt>
                <c:pt idx="1022">
                  <c:v>43758</c:v>
                </c:pt>
                <c:pt idx="1023">
                  <c:v>43759</c:v>
                </c:pt>
                <c:pt idx="1024">
                  <c:v>43760</c:v>
                </c:pt>
                <c:pt idx="1025">
                  <c:v>43761</c:v>
                </c:pt>
                <c:pt idx="1026">
                  <c:v>43762</c:v>
                </c:pt>
                <c:pt idx="1027">
                  <c:v>43763</c:v>
                </c:pt>
                <c:pt idx="1028">
                  <c:v>43764</c:v>
                </c:pt>
                <c:pt idx="1029">
                  <c:v>43765</c:v>
                </c:pt>
                <c:pt idx="1030">
                  <c:v>43766</c:v>
                </c:pt>
                <c:pt idx="1031">
                  <c:v>43767</c:v>
                </c:pt>
                <c:pt idx="1032">
                  <c:v>43768</c:v>
                </c:pt>
                <c:pt idx="1033">
                  <c:v>43769</c:v>
                </c:pt>
                <c:pt idx="1034">
                  <c:v>43770</c:v>
                </c:pt>
                <c:pt idx="1035">
                  <c:v>43771</c:v>
                </c:pt>
                <c:pt idx="1036">
                  <c:v>43772</c:v>
                </c:pt>
                <c:pt idx="1037">
                  <c:v>43773</c:v>
                </c:pt>
                <c:pt idx="1038">
                  <c:v>43774</c:v>
                </c:pt>
                <c:pt idx="1039">
                  <c:v>43775</c:v>
                </c:pt>
                <c:pt idx="1040">
                  <c:v>43776</c:v>
                </c:pt>
                <c:pt idx="1041">
                  <c:v>43777</c:v>
                </c:pt>
                <c:pt idx="1042">
                  <c:v>43778</c:v>
                </c:pt>
                <c:pt idx="1043">
                  <c:v>43779</c:v>
                </c:pt>
                <c:pt idx="1044">
                  <c:v>43780</c:v>
                </c:pt>
                <c:pt idx="1045">
                  <c:v>43781</c:v>
                </c:pt>
                <c:pt idx="1046">
                  <c:v>43782</c:v>
                </c:pt>
                <c:pt idx="1047">
                  <c:v>43783</c:v>
                </c:pt>
                <c:pt idx="1048">
                  <c:v>43784</c:v>
                </c:pt>
                <c:pt idx="1049">
                  <c:v>43785</c:v>
                </c:pt>
                <c:pt idx="1050">
                  <c:v>43786</c:v>
                </c:pt>
                <c:pt idx="1051">
                  <c:v>43787</c:v>
                </c:pt>
                <c:pt idx="1052">
                  <c:v>43788</c:v>
                </c:pt>
                <c:pt idx="1053">
                  <c:v>43789</c:v>
                </c:pt>
                <c:pt idx="1054">
                  <c:v>43790</c:v>
                </c:pt>
                <c:pt idx="1055">
                  <c:v>43791</c:v>
                </c:pt>
                <c:pt idx="1056">
                  <c:v>43792</c:v>
                </c:pt>
                <c:pt idx="1057">
                  <c:v>43793</c:v>
                </c:pt>
                <c:pt idx="1058">
                  <c:v>43794</c:v>
                </c:pt>
                <c:pt idx="1059">
                  <c:v>43795</c:v>
                </c:pt>
                <c:pt idx="1060">
                  <c:v>43796</c:v>
                </c:pt>
                <c:pt idx="1061">
                  <c:v>43797</c:v>
                </c:pt>
                <c:pt idx="1062">
                  <c:v>43798</c:v>
                </c:pt>
                <c:pt idx="1063">
                  <c:v>43799</c:v>
                </c:pt>
                <c:pt idx="1064">
                  <c:v>43800</c:v>
                </c:pt>
                <c:pt idx="1065">
                  <c:v>43801</c:v>
                </c:pt>
                <c:pt idx="1066">
                  <c:v>43802</c:v>
                </c:pt>
                <c:pt idx="1067">
                  <c:v>43803</c:v>
                </c:pt>
                <c:pt idx="1068">
                  <c:v>43804</c:v>
                </c:pt>
                <c:pt idx="1069">
                  <c:v>43805</c:v>
                </c:pt>
                <c:pt idx="1070">
                  <c:v>43806</c:v>
                </c:pt>
                <c:pt idx="1071">
                  <c:v>43807</c:v>
                </c:pt>
                <c:pt idx="1072">
                  <c:v>43808</c:v>
                </c:pt>
                <c:pt idx="1073">
                  <c:v>43809</c:v>
                </c:pt>
                <c:pt idx="1074">
                  <c:v>43810</c:v>
                </c:pt>
                <c:pt idx="1075">
                  <c:v>43811</c:v>
                </c:pt>
                <c:pt idx="1076">
                  <c:v>43812</c:v>
                </c:pt>
                <c:pt idx="1077">
                  <c:v>43813</c:v>
                </c:pt>
                <c:pt idx="1078">
                  <c:v>43814</c:v>
                </c:pt>
                <c:pt idx="1079">
                  <c:v>43815</c:v>
                </c:pt>
                <c:pt idx="1080">
                  <c:v>43816</c:v>
                </c:pt>
                <c:pt idx="1081">
                  <c:v>43817</c:v>
                </c:pt>
                <c:pt idx="1082">
                  <c:v>43818</c:v>
                </c:pt>
                <c:pt idx="1083">
                  <c:v>43819</c:v>
                </c:pt>
                <c:pt idx="1084">
                  <c:v>43820</c:v>
                </c:pt>
                <c:pt idx="1085">
                  <c:v>43821</c:v>
                </c:pt>
                <c:pt idx="1086">
                  <c:v>43822</c:v>
                </c:pt>
                <c:pt idx="1087">
                  <c:v>43823</c:v>
                </c:pt>
                <c:pt idx="1088">
                  <c:v>43824</c:v>
                </c:pt>
                <c:pt idx="1089">
                  <c:v>43825</c:v>
                </c:pt>
                <c:pt idx="1090">
                  <c:v>43826</c:v>
                </c:pt>
                <c:pt idx="1091">
                  <c:v>43827</c:v>
                </c:pt>
                <c:pt idx="1092">
                  <c:v>43828</c:v>
                </c:pt>
                <c:pt idx="1093">
                  <c:v>43829</c:v>
                </c:pt>
                <c:pt idx="1094">
                  <c:v>43830</c:v>
                </c:pt>
                <c:pt idx="1095">
                  <c:v>43831</c:v>
                </c:pt>
                <c:pt idx="1096">
                  <c:v>43832</c:v>
                </c:pt>
                <c:pt idx="1097">
                  <c:v>43833</c:v>
                </c:pt>
                <c:pt idx="1098">
                  <c:v>43834</c:v>
                </c:pt>
                <c:pt idx="1099">
                  <c:v>43835</c:v>
                </c:pt>
                <c:pt idx="1100">
                  <c:v>43836</c:v>
                </c:pt>
                <c:pt idx="1101">
                  <c:v>43837</c:v>
                </c:pt>
                <c:pt idx="1102">
                  <c:v>43838</c:v>
                </c:pt>
                <c:pt idx="1103">
                  <c:v>43839</c:v>
                </c:pt>
                <c:pt idx="1104">
                  <c:v>43840</c:v>
                </c:pt>
                <c:pt idx="1105">
                  <c:v>43841</c:v>
                </c:pt>
                <c:pt idx="1106">
                  <c:v>43842</c:v>
                </c:pt>
                <c:pt idx="1107">
                  <c:v>43843</c:v>
                </c:pt>
                <c:pt idx="1108">
                  <c:v>43844</c:v>
                </c:pt>
                <c:pt idx="1109">
                  <c:v>43845</c:v>
                </c:pt>
                <c:pt idx="1110">
                  <c:v>43846</c:v>
                </c:pt>
                <c:pt idx="1111">
                  <c:v>43847</c:v>
                </c:pt>
                <c:pt idx="1112">
                  <c:v>43848</c:v>
                </c:pt>
                <c:pt idx="1113">
                  <c:v>43849</c:v>
                </c:pt>
                <c:pt idx="1114">
                  <c:v>43850</c:v>
                </c:pt>
                <c:pt idx="1115">
                  <c:v>43851</c:v>
                </c:pt>
                <c:pt idx="1116">
                  <c:v>43852</c:v>
                </c:pt>
                <c:pt idx="1117">
                  <c:v>43853</c:v>
                </c:pt>
                <c:pt idx="1118">
                  <c:v>43854</c:v>
                </c:pt>
                <c:pt idx="1119">
                  <c:v>43855</c:v>
                </c:pt>
                <c:pt idx="1120">
                  <c:v>43856</c:v>
                </c:pt>
                <c:pt idx="1121">
                  <c:v>43857</c:v>
                </c:pt>
                <c:pt idx="1122">
                  <c:v>43858</c:v>
                </c:pt>
                <c:pt idx="1123">
                  <c:v>43859</c:v>
                </c:pt>
                <c:pt idx="1124">
                  <c:v>43860</c:v>
                </c:pt>
                <c:pt idx="1125">
                  <c:v>43861</c:v>
                </c:pt>
                <c:pt idx="1126">
                  <c:v>43862</c:v>
                </c:pt>
                <c:pt idx="1127">
                  <c:v>43863</c:v>
                </c:pt>
                <c:pt idx="1128">
                  <c:v>43864</c:v>
                </c:pt>
                <c:pt idx="1129">
                  <c:v>43865</c:v>
                </c:pt>
                <c:pt idx="1130">
                  <c:v>43866</c:v>
                </c:pt>
                <c:pt idx="1131">
                  <c:v>43867</c:v>
                </c:pt>
                <c:pt idx="1132">
                  <c:v>43868</c:v>
                </c:pt>
                <c:pt idx="1133">
                  <c:v>43869</c:v>
                </c:pt>
                <c:pt idx="1134">
                  <c:v>43870</c:v>
                </c:pt>
                <c:pt idx="1135">
                  <c:v>43871</c:v>
                </c:pt>
                <c:pt idx="1136">
                  <c:v>43872</c:v>
                </c:pt>
                <c:pt idx="1137">
                  <c:v>43873</c:v>
                </c:pt>
                <c:pt idx="1138">
                  <c:v>43874</c:v>
                </c:pt>
                <c:pt idx="1139">
                  <c:v>43875</c:v>
                </c:pt>
                <c:pt idx="1140">
                  <c:v>43876</c:v>
                </c:pt>
                <c:pt idx="1141">
                  <c:v>43877</c:v>
                </c:pt>
                <c:pt idx="1142">
                  <c:v>43878</c:v>
                </c:pt>
                <c:pt idx="1143">
                  <c:v>43879</c:v>
                </c:pt>
                <c:pt idx="1144">
                  <c:v>43880</c:v>
                </c:pt>
                <c:pt idx="1145">
                  <c:v>43881</c:v>
                </c:pt>
                <c:pt idx="1146">
                  <c:v>43882</c:v>
                </c:pt>
                <c:pt idx="1147">
                  <c:v>43883</c:v>
                </c:pt>
                <c:pt idx="1148">
                  <c:v>43884</c:v>
                </c:pt>
                <c:pt idx="1149">
                  <c:v>43885</c:v>
                </c:pt>
                <c:pt idx="1150">
                  <c:v>43886</c:v>
                </c:pt>
                <c:pt idx="1151">
                  <c:v>43887</c:v>
                </c:pt>
                <c:pt idx="1152">
                  <c:v>43888</c:v>
                </c:pt>
                <c:pt idx="1153">
                  <c:v>43889</c:v>
                </c:pt>
                <c:pt idx="1154">
                  <c:v>43890</c:v>
                </c:pt>
                <c:pt idx="1155">
                  <c:v>43891</c:v>
                </c:pt>
                <c:pt idx="1156">
                  <c:v>43892</c:v>
                </c:pt>
                <c:pt idx="1157">
                  <c:v>43893</c:v>
                </c:pt>
                <c:pt idx="1158">
                  <c:v>43894</c:v>
                </c:pt>
                <c:pt idx="1159">
                  <c:v>43895</c:v>
                </c:pt>
                <c:pt idx="1160">
                  <c:v>43896</c:v>
                </c:pt>
                <c:pt idx="1161">
                  <c:v>43897</c:v>
                </c:pt>
                <c:pt idx="1162">
                  <c:v>43898</c:v>
                </c:pt>
                <c:pt idx="1163">
                  <c:v>43899</c:v>
                </c:pt>
                <c:pt idx="1164">
                  <c:v>43900</c:v>
                </c:pt>
                <c:pt idx="1165">
                  <c:v>43901</c:v>
                </c:pt>
                <c:pt idx="1166">
                  <c:v>43902</c:v>
                </c:pt>
                <c:pt idx="1167">
                  <c:v>43903</c:v>
                </c:pt>
                <c:pt idx="1168">
                  <c:v>43904</c:v>
                </c:pt>
                <c:pt idx="1169">
                  <c:v>43905</c:v>
                </c:pt>
                <c:pt idx="1170">
                  <c:v>43906</c:v>
                </c:pt>
                <c:pt idx="1171">
                  <c:v>43907</c:v>
                </c:pt>
                <c:pt idx="1172">
                  <c:v>43908</c:v>
                </c:pt>
                <c:pt idx="1173">
                  <c:v>43909</c:v>
                </c:pt>
                <c:pt idx="1174">
                  <c:v>43910</c:v>
                </c:pt>
                <c:pt idx="1175">
                  <c:v>43911</c:v>
                </c:pt>
                <c:pt idx="1176">
                  <c:v>43912</c:v>
                </c:pt>
                <c:pt idx="1177">
                  <c:v>43913</c:v>
                </c:pt>
                <c:pt idx="1178">
                  <c:v>43914</c:v>
                </c:pt>
                <c:pt idx="1179">
                  <c:v>43915</c:v>
                </c:pt>
                <c:pt idx="1180">
                  <c:v>43916</c:v>
                </c:pt>
                <c:pt idx="1181">
                  <c:v>43917</c:v>
                </c:pt>
                <c:pt idx="1182">
                  <c:v>43918</c:v>
                </c:pt>
                <c:pt idx="1183">
                  <c:v>43919</c:v>
                </c:pt>
                <c:pt idx="1184">
                  <c:v>43920</c:v>
                </c:pt>
                <c:pt idx="1185">
                  <c:v>43921</c:v>
                </c:pt>
                <c:pt idx="1186">
                  <c:v>43922</c:v>
                </c:pt>
                <c:pt idx="1187">
                  <c:v>43923</c:v>
                </c:pt>
                <c:pt idx="1188">
                  <c:v>43924</c:v>
                </c:pt>
                <c:pt idx="1189">
                  <c:v>43925</c:v>
                </c:pt>
                <c:pt idx="1190">
                  <c:v>43926</c:v>
                </c:pt>
                <c:pt idx="1191">
                  <c:v>43927</c:v>
                </c:pt>
                <c:pt idx="1192">
                  <c:v>43928</c:v>
                </c:pt>
                <c:pt idx="1193">
                  <c:v>43929</c:v>
                </c:pt>
                <c:pt idx="1194">
                  <c:v>43930</c:v>
                </c:pt>
                <c:pt idx="1195">
                  <c:v>43931</c:v>
                </c:pt>
                <c:pt idx="1196">
                  <c:v>43932</c:v>
                </c:pt>
                <c:pt idx="1197">
                  <c:v>43933</c:v>
                </c:pt>
                <c:pt idx="1198">
                  <c:v>43934</c:v>
                </c:pt>
                <c:pt idx="1199">
                  <c:v>43935</c:v>
                </c:pt>
                <c:pt idx="1200">
                  <c:v>43936</c:v>
                </c:pt>
                <c:pt idx="1201">
                  <c:v>43937</c:v>
                </c:pt>
                <c:pt idx="1202">
                  <c:v>43938</c:v>
                </c:pt>
                <c:pt idx="1203">
                  <c:v>43939</c:v>
                </c:pt>
                <c:pt idx="1204">
                  <c:v>43940</c:v>
                </c:pt>
                <c:pt idx="1205">
                  <c:v>43941</c:v>
                </c:pt>
                <c:pt idx="1206">
                  <c:v>43942</c:v>
                </c:pt>
                <c:pt idx="1207">
                  <c:v>43943</c:v>
                </c:pt>
                <c:pt idx="1208">
                  <c:v>43944</c:v>
                </c:pt>
                <c:pt idx="1209">
                  <c:v>43945</c:v>
                </c:pt>
                <c:pt idx="1210">
                  <c:v>43946</c:v>
                </c:pt>
                <c:pt idx="1211">
                  <c:v>43947</c:v>
                </c:pt>
                <c:pt idx="1212">
                  <c:v>43948</c:v>
                </c:pt>
                <c:pt idx="1213">
                  <c:v>43949</c:v>
                </c:pt>
                <c:pt idx="1214">
                  <c:v>43950</c:v>
                </c:pt>
                <c:pt idx="1215">
                  <c:v>43951</c:v>
                </c:pt>
                <c:pt idx="1216">
                  <c:v>43952</c:v>
                </c:pt>
                <c:pt idx="1217">
                  <c:v>43953</c:v>
                </c:pt>
                <c:pt idx="1218">
                  <c:v>43954</c:v>
                </c:pt>
                <c:pt idx="1219">
                  <c:v>43955</c:v>
                </c:pt>
                <c:pt idx="1220">
                  <c:v>43956</c:v>
                </c:pt>
                <c:pt idx="1221">
                  <c:v>43957</c:v>
                </c:pt>
                <c:pt idx="1222">
                  <c:v>43958</c:v>
                </c:pt>
                <c:pt idx="1223">
                  <c:v>43959</c:v>
                </c:pt>
                <c:pt idx="1224">
                  <c:v>43960</c:v>
                </c:pt>
                <c:pt idx="1225">
                  <c:v>43961</c:v>
                </c:pt>
                <c:pt idx="1226">
                  <c:v>43962</c:v>
                </c:pt>
                <c:pt idx="1227">
                  <c:v>43963</c:v>
                </c:pt>
                <c:pt idx="1228">
                  <c:v>43964</c:v>
                </c:pt>
                <c:pt idx="1229">
                  <c:v>43965</c:v>
                </c:pt>
                <c:pt idx="1230">
                  <c:v>43966</c:v>
                </c:pt>
                <c:pt idx="1231">
                  <c:v>43967</c:v>
                </c:pt>
                <c:pt idx="1232">
                  <c:v>43968</c:v>
                </c:pt>
                <c:pt idx="1233">
                  <c:v>43969</c:v>
                </c:pt>
                <c:pt idx="1234">
                  <c:v>43970</c:v>
                </c:pt>
                <c:pt idx="1235">
                  <c:v>43971</c:v>
                </c:pt>
                <c:pt idx="1236">
                  <c:v>43972</c:v>
                </c:pt>
                <c:pt idx="1237">
                  <c:v>43973</c:v>
                </c:pt>
                <c:pt idx="1238">
                  <c:v>43974</c:v>
                </c:pt>
                <c:pt idx="1239">
                  <c:v>43975</c:v>
                </c:pt>
                <c:pt idx="1240">
                  <c:v>43976</c:v>
                </c:pt>
                <c:pt idx="1241">
                  <c:v>43977</c:v>
                </c:pt>
                <c:pt idx="1242">
                  <c:v>43978</c:v>
                </c:pt>
                <c:pt idx="1243">
                  <c:v>43979</c:v>
                </c:pt>
                <c:pt idx="1244">
                  <c:v>43980</c:v>
                </c:pt>
                <c:pt idx="1245">
                  <c:v>43981</c:v>
                </c:pt>
                <c:pt idx="1246">
                  <c:v>43982</c:v>
                </c:pt>
                <c:pt idx="1247">
                  <c:v>43983</c:v>
                </c:pt>
                <c:pt idx="1248">
                  <c:v>43984</c:v>
                </c:pt>
                <c:pt idx="1249">
                  <c:v>43985</c:v>
                </c:pt>
                <c:pt idx="1250">
                  <c:v>43986</c:v>
                </c:pt>
                <c:pt idx="1251">
                  <c:v>43987</c:v>
                </c:pt>
                <c:pt idx="1252">
                  <c:v>43988</c:v>
                </c:pt>
                <c:pt idx="1253">
                  <c:v>43989</c:v>
                </c:pt>
                <c:pt idx="1254">
                  <c:v>43990</c:v>
                </c:pt>
                <c:pt idx="1255">
                  <c:v>43991</c:v>
                </c:pt>
                <c:pt idx="1256">
                  <c:v>43992</c:v>
                </c:pt>
                <c:pt idx="1257">
                  <c:v>43993</c:v>
                </c:pt>
                <c:pt idx="1258">
                  <c:v>43994</c:v>
                </c:pt>
                <c:pt idx="1259">
                  <c:v>43995</c:v>
                </c:pt>
                <c:pt idx="1260">
                  <c:v>43996</c:v>
                </c:pt>
                <c:pt idx="1261">
                  <c:v>43997</c:v>
                </c:pt>
                <c:pt idx="1262">
                  <c:v>43998</c:v>
                </c:pt>
                <c:pt idx="1263">
                  <c:v>43999</c:v>
                </c:pt>
                <c:pt idx="1264">
                  <c:v>44000</c:v>
                </c:pt>
                <c:pt idx="1265">
                  <c:v>44001</c:v>
                </c:pt>
                <c:pt idx="1266">
                  <c:v>44002</c:v>
                </c:pt>
                <c:pt idx="1267">
                  <c:v>44003</c:v>
                </c:pt>
                <c:pt idx="1268">
                  <c:v>44004</c:v>
                </c:pt>
                <c:pt idx="1269">
                  <c:v>44005</c:v>
                </c:pt>
                <c:pt idx="1270">
                  <c:v>44006</c:v>
                </c:pt>
                <c:pt idx="1271">
                  <c:v>44007</c:v>
                </c:pt>
                <c:pt idx="1272">
                  <c:v>44008</c:v>
                </c:pt>
                <c:pt idx="1273">
                  <c:v>44009</c:v>
                </c:pt>
                <c:pt idx="1274">
                  <c:v>44010</c:v>
                </c:pt>
                <c:pt idx="1275">
                  <c:v>44011</c:v>
                </c:pt>
                <c:pt idx="1276">
                  <c:v>44012</c:v>
                </c:pt>
                <c:pt idx="1277">
                  <c:v>44013</c:v>
                </c:pt>
                <c:pt idx="1278">
                  <c:v>44014</c:v>
                </c:pt>
                <c:pt idx="1279">
                  <c:v>44015</c:v>
                </c:pt>
                <c:pt idx="1280">
                  <c:v>44016</c:v>
                </c:pt>
                <c:pt idx="1281">
                  <c:v>44017</c:v>
                </c:pt>
                <c:pt idx="1282">
                  <c:v>44018</c:v>
                </c:pt>
                <c:pt idx="1283">
                  <c:v>44019</c:v>
                </c:pt>
                <c:pt idx="1284">
                  <c:v>44020</c:v>
                </c:pt>
                <c:pt idx="1285">
                  <c:v>44021</c:v>
                </c:pt>
                <c:pt idx="1286">
                  <c:v>44022</c:v>
                </c:pt>
                <c:pt idx="1287">
                  <c:v>44023</c:v>
                </c:pt>
                <c:pt idx="1288">
                  <c:v>44024</c:v>
                </c:pt>
                <c:pt idx="1289">
                  <c:v>44025</c:v>
                </c:pt>
                <c:pt idx="1290">
                  <c:v>44026</c:v>
                </c:pt>
                <c:pt idx="1291">
                  <c:v>44027</c:v>
                </c:pt>
                <c:pt idx="1292">
                  <c:v>44028</c:v>
                </c:pt>
                <c:pt idx="1293">
                  <c:v>44029</c:v>
                </c:pt>
                <c:pt idx="1294">
                  <c:v>44030</c:v>
                </c:pt>
                <c:pt idx="1295">
                  <c:v>44031</c:v>
                </c:pt>
                <c:pt idx="1296">
                  <c:v>44032</c:v>
                </c:pt>
                <c:pt idx="1297">
                  <c:v>44033</c:v>
                </c:pt>
                <c:pt idx="1298">
                  <c:v>44034</c:v>
                </c:pt>
                <c:pt idx="1299">
                  <c:v>44035</c:v>
                </c:pt>
                <c:pt idx="1300">
                  <c:v>44036</c:v>
                </c:pt>
                <c:pt idx="1301">
                  <c:v>44037</c:v>
                </c:pt>
                <c:pt idx="1302">
                  <c:v>44038</c:v>
                </c:pt>
                <c:pt idx="1303">
                  <c:v>44039</c:v>
                </c:pt>
                <c:pt idx="1304">
                  <c:v>44040</c:v>
                </c:pt>
                <c:pt idx="1305">
                  <c:v>44041</c:v>
                </c:pt>
                <c:pt idx="1306">
                  <c:v>44042</c:v>
                </c:pt>
                <c:pt idx="1307">
                  <c:v>44043</c:v>
                </c:pt>
                <c:pt idx="1308">
                  <c:v>44044</c:v>
                </c:pt>
                <c:pt idx="1309">
                  <c:v>44045</c:v>
                </c:pt>
                <c:pt idx="1310">
                  <c:v>44046</c:v>
                </c:pt>
                <c:pt idx="1311">
                  <c:v>44047</c:v>
                </c:pt>
                <c:pt idx="1312">
                  <c:v>44048</c:v>
                </c:pt>
                <c:pt idx="1313">
                  <c:v>44049</c:v>
                </c:pt>
                <c:pt idx="1314">
                  <c:v>44050</c:v>
                </c:pt>
                <c:pt idx="1315">
                  <c:v>44051</c:v>
                </c:pt>
                <c:pt idx="1316">
                  <c:v>44052</c:v>
                </c:pt>
                <c:pt idx="1317">
                  <c:v>44053</c:v>
                </c:pt>
                <c:pt idx="1318">
                  <c:v>44054</c:v>
                </c:pt>
                <c:pt idx="1319">
                  <c:v>44055</c:v>
                </c:pt>
                <c:pt idx="1320">
                  <c:v>44056</c:v>
                </c:pt>
                <c:pt idx="1321">
                  <c:v>44057</c:v>
                </c:pt>
                <c:pt idx="1322">
                  <c:v>44058</c:v>
                </c:pt>
                <c:pt idx="1323">
                  <c:v>44059</c:v>
                </c:pt>
                <c:pt idx="1324">
                  <c:v>44060</c:v>
                </c:pt>
                <c:pt idx="1325">
                  <c:v>44061</c:v>
                </c:pt>
                <c:pt idx="1326">
                  <c:v>44062</c:v>
                </c:pt>
                <c:pt idx="1327">
                  <c:v>44063</c:v>
                </c:pt>
                <c:pt idx="1328">
                  <c:v>44064</c:v>
                </c:pt>
                <c:pt idx="1329">
                  <c:v>44065</c:v>
                </c:pt>
                <c:pt idx="1330">
                  <c:v>44066</c:v>
                </c:pt>
                <c:pt idx="1331">
                  <c:v>44067</c:v>
                </c:pt>
                <c:pt idx="1332">
                  <c:v>44068</c:v>
                </c:pt>
                <c:pt idx="1333">
                  <c:v>44069</c:v>
                </c:pt>
                <c:pt idx="1334">
                  <c:v>44070</c:v>
                </c:pt>
                <c:pt idx="1335">
                  <c:v>44071</c:v>
                </c:pt>
                <c:pt idx="1336">
                  <c:v>44072</c:v>
                </c:pt>
                <c:pt idx="1337">
                  <c:v>44073</c:v>
                </c:pt>
                <c:pt idx="1338">
                  <c:v>44074</c:v>
                </c:pt>
                <c:pt idx="1339">
                  <c:v>44075</c:v>
                </c:pt>
                <c:pt idx="1340">
                  <c:v>44076</c:v>
                </c:pt>
                <c:pt idx="1341">
                  <c:v>44077</c:v>
                </c:pt>
                <c:pt idx="1342">
                  <c:v>44078</c:v>
                </c:pt>
                <c:pt idx="1343">
                  <c:v>44079</c:v>
                </c:pt>
                <c:pt idx="1344">
                  <c:v>44080</c:v>
                </c:pt>
                <c:pt idx="1345">
                  <c:v>44081</c:v>
                </c:pt>
                <c:pt idx="1346">
                  <c:v>44082</c:v>
                </c:pt>
                <c:pt idx="1347">
                  <c:v>44083</c:v>
                </c:pt>
                <c:pt idx="1348">
                  <c:v>44084</c:v>
                </c:pt>
                <c:pt idx="1349">
                  <c:v>44085</c:v>
                </c:pt>
                <c:pt idx="1350">
                  <c:v>44086</c:v>
                </c:pt>
                <c:pt idx="1351">
                  <c:v>44087</c:v>
                </c:pt>
                <c:pt idx="1352">
                  <c:v>44088</c:v>
                </c:pt>
                <c:pt idx="1353">
                  <c:v>44089</c:v>
                </c:pt>
                <c:pt idx="1354">
                  <c:v>44090</c:v>
                </c:pt>
                <c:pt idx="1355">
                  <c:v>44091</c:v>
                </c:pt>
                <c:pt idx="1356">
                  <c:v>44092</c:v>
                </c:pt>
                <c:pt idx="1357">
                  <c:v>44093</c:v>
                </c:pt>
                <c:pt idx="1358">
                  <c:v>44094</c:v>
                </c:pt>
                <c:pt idx="1359">
                  <c:v>44095</c:v>
                </c:pt>
                <c:pt idx="1360">
                  <c:v>44096</c:v>
                </c:pt>
                <c:pt idx="1361">
                  <c:v>44097</c:v>
                </c:pt>
                <c:pt idx="1362">
                  <c:v>44098</c:v>
                </c:pt>
                <c:pt idx="1363">
                  <c:v>44099</c:v>
                </c:pt>
                <c:pt idx="1364">
                  <c:v>44100</c:v>
                </c:pt>
                <c:pt idx="1365">
                  <c:v>44101</c:v>
                </c:pt>
                <c:pt idx="1366">
                  <c:v>44102</c:v>
                </c:pt>
                <c:pt idx="1367">
                  <c:v>44103</c:v>
                </c:pt>
                <c:pt idx="1368">
                  <c:v>44104</c:v>
                </c:pt>
                <c:pt idx="1369">
                  <c:v>44105</c:v>
                </c:pt>
                <c:pt idx="1370">
                  <c:v>44106</c:v>
                </c:pt>
                <c:pt idx="1371">
                  <c:v>44107</c:v>
                </c:pt>
                <c:pt idx="1372">
                  <c:v>44108</c:v>
                </c:pt>
                <c:pt idx="1373">
                  <c:v>44109</c:v>
                </c:pt>
                <c:pt idx="1374">
                  <c:v>44110</c:v>
                </c:pt>
                <c:pt idx="1375">
                  <c:v>44111</c:v>
                </c:pt>
                <c:pt idx="1376">
                  <c:v>44112</c:v>
                </c:pt>
                <c:pt idx="1377">
                  <c:v>44113</c:v>
                </c:pt>
                <c:pt idx="1378">
                  <c:v>44114</c:v>
                </c:pt>
                <c:pt idx="1379">
                  <c:v>44115</c:v>
                </c:pt>
                <c:pt idx="1380">
                  <c:v>44116</c:v>
                </c:pt>
                <c:pt idx="1381">
                  <c:v>44117</c:v>
                </c:pt>
                <c:pt idx="1382">
                  <c:v>44118</c:v>
                </c:pt>
                <c:pt idx="1383">
                  <c:v>44119</c:v>
                </c:pt>
                <c:pt idx="1384">
                  <c:v>44120</c:v>
                </c:pt>
                <c:pt idx="1385">
                  <c:v>44121</c:v>
                </c:pt>
                <c:pt idx="1386">
                  <c:v>44122</c:v>
                </c:pt>
                <c:pt idx="1387">
                  <c:v>44123</c:v>
                </c:pt>
                <c:pt idx="1388">
                  <c:v>44124</c:v>
                </c:pt>
                <c:pt idx="1389">
                  <c:v>44125</c:v>
                </c:pt>
                <c:pt idx="1390">
                  <c:v>44126</c:v>
                </c:pt>
                <c:pt idx="1391">
                  <c:v>44127</c:v>
                </c:pt>
                <c:pt idx="1392">
                  <c:v>44128</c:v>
                </c:pt>
                <c:pt idx="1393">
                  <c:v>44129</c:v>
                </c:pt>
                <c:pt idx="1394">
                  <c:v>44130</c:v>
                </c:pt>
                <c:pt idx="1395">
                  <c:v>44131</c:v>
                </c:pt>
                <c:pt idx="1396">
                  <c:v>44132</c:v>
                </c:pt>
                <c:pt idx="1397">
                  <c:v>44133</c:v>
                </c:pt>
                <c:pt idx="1398">
                  <c:v>44134</c:v>
                </c:pt>
                <c:pt idx="1399">
                  <c:v>44135</c:v>
                </c:pt>
                <c:pt idx="1400">
                  <c:v>44136</c:v>
                </c:pt>
                <c:pt idx="1401">
                  <c:v>44137</c:v>
                </c:pt>
                <c:pt idx="1402">
                  <c:v>44138</c:v>
                </c:pt>
                <c:pt idx="1403">
                  <c:v>44139</c:v>
                </c:pt>
                <c:pt idx="1404">
                  <c:v>44140</c:v>
                </c:pt>
                <c:pt idx="1405">
                  <c:v>44141</c:v>
                </c:pt>
                <c:pt idx="1406">
                  <c:v>44142</c:v>
                </c:pt>
                <c:pt idx="1407">
                  <c:v>44143</c:v>
                </c:pt>
                <c:pt idx="1408">
                  <c:v>44144</c:v>
                </c:pt>
                <c:pt idx="1409">
                  <c:v>44145</c:v>
                </c:pt>
                <c:pt idx="1410">
                  <c:v>44146</c:v>
                </c:pt>
                <c:pt idx="1411">
                  <c:v>44147</c:v>
                </c:pt>
                <c:pt idx="1412">
                  <c:v>44148</c:v>
                </c:pt>
                <c:pt idx="1413">
                  <c:v>44149</c:v>
                </c:pt>
                <c:pt idx="1414">
                  <c:v>44150</c:v>
                </c:pt>
                <c:pt idx="1415">
                  <c:v>44151</c:v>
                </c:pt>
                <c:pt idx="1416">
                  <c:v>44152</c:v>
                </c:pt>
                <c:pt idx="1417">
                  <c:v>44153</c:v>
                </c:pt>
                <c:pt idx="1418">
                  <c:v>44154</c:v>
                </c:pt>
                <c:pt idx="1419">
                  <c:v>44155</c:v>
                </c:pt>
                <c:pt idx="1420">
                  <c:v>44156</c:v>
                </c:pt>
                <c:pt idx="1421">
                  <c:v>44157</c:v>
                </c:pt>
                <c:pt idx="1422">
                  <c:v>44158</c:v>
                </c:pt>
                <c:pt idx="1423">
                  <c:v>44159</c:v>
                </c:pt>
                <c:pt idx="1424">
                  <c:v>44160</c:v>
                </c:pt>
                <c:pt idx="1425">
                  <c:v>44161</c:v>
                </c:pt>
                <c:pt idx="1426">
                  <c:v>44162</c:v>
                </c:pt>
                <c:pt idx="1427">
                  <c:v>44163</c:v>
                </c:pt>
                <c:pt idx="1428">
                  <c:v>44164</c:v>
                </c:pt>
                <c:pt idx="1429">
                  <c:v>44165</c:v>
                </c:pt>
                <c:pt idx="1430">
                  <c:v>44166</c:v>
                </c:pt>
                <c:pt idx="1431">
                  <c:v>44167</c:v>
                </c:pt>
                <c:pt idx="1432">
                  <c:v>44168</c:v>
                </c:pt>
                <c:pt idx="1433">
                  <c:v>44169</c:v>
                </c:pt>
                <c:pt idx="1434">
                  <c:v>44170</c:v>
                </c:pt>
                <c:pt idx="1435">
                  <c:v>44171</c:v>
                </c:pt>
                <c:pt idx="1436">
                  <c:v>44172</c:v>
                </c:pt>
                <c:pt idx="1437">
                  <c:v>44173</c:v>
                </c:pt>
                <c:pt idx="1438">
                  <c:v>44174</c:v>
                </c:pt>
                <c:pt idx="1439">
                  <c:v>44175</c:v>
                </c:pt>
                <c:pt idx="1440">
                  <c:v>44176</c:v>
                </c:pt>
                <c:pt idx="1441">
                  <c:v>44177</c:v>
                </c:pt>
                <c:pt idx="1442">
                  <c:v>44178</c:v>
                </c:pt>
                <c:pt idx="1443">
                  <c:v>44179</c:v>
                </c:pt>
                <c:pt idx="1444">
                  <c:v>44180</c:v>
                </c:pt>
                <c:pt idx="1445">
                  <c:v>44181</c:v>
                </c:pt>
                <c:pt idx="1446">
                  <c:v>44182</c:v>
                </c:pt>
                <c:pt idx="1447">
                  <c:v>44183</c:v>
                </c:pt>
                <c:pt idx="1448">
                  <c:v>44184</c:v>
                </c:pt>
                <c:pt idx="1449">
                  <c:v>44185</c:v>
                </c:pt>
                <c:pt idx="1450">
                  <c:v>44186</c:v>
                </c:pt>
                <c:pt idx="1451">
                  <c:v>44187</c:v>
                </c:pt>
                <c:pt idx="1452">
                  <c:v>44188</c:v>
                </c:pt>
                <c:pt idx="1453">
                  <c:v>44189</c:v>
                </c:pt>
                <c:pt idx="1454">
                  <c:v>44190</c:v>
                </c:pt>
                <c:pt idx="1455">
                  <c:v>44191</c:v>
                </c:pt>
                <c:pt idx="1456">
                  <c:v>44192</c:v>
                </c:pt>
                <c:pt idx="1457">
                  <c:v>44193</c:v>
                </c:pt>
                <c:pt idx="1458">
                  <c:v>44194</c:v>
                </c:pt>
                <c:pt idx="1459">
                  <c:v>44195</c:v>
                </c:pt>
                <c:pt idx="1460">
                  <c:v>44196</c:v>
                </c:pt>
                <c:pt idx="1461">
                  <c:v>44197</c:v>
                </c:pt>
                <c:pt idx="1462">
                  <c:v>44198</c:v>
                </c:pt>
                <c:pt idx="1463">
                  <c:v>44199</c:v>
                </c:pt>
                <c:pt idx="1464">
                  <c:v>44200</c:v>
                </c:pt>
                <c:pt idx="1465">
                  <c:v>44201</c:v>
                </c:pt>
                <c:pt idx="1466">
                  <c:v>44202</c:v>
                </c:pt>
                <c:pt idx="1467">
                  <c:v>44203</c:v>
                </c:pt>
                <c:pt idx="1468">
                  <c:v>44204</c:v>
                </c:pt>
                <c:pt idx="1469">
                  <c:v>44205</c:v>
                </c:pt>
                <c:pt idx="1470">
                  <c:v>44206</c:v>
                </c:pt>
                <c:pt idx="1471">
                  <c:v>44207</c:v>
                </c:pt>
                <c:pt idx="1472">
                  <c:v>44208</c:v>
                </c:pt>
                <c:pt idx="1473">
                  <c:v>44209</c:v>
                </c:pt>
                <c:pt idx="1474">
                  <c:v>44210</c:v>
                </c:pt>
                <c:pt idx="1475">
                  <c:v>44211</c:v>
                </c:pt>
                <c:pt idx="1476">
                  <c:v>44212</c:v>
                </c:pt>
                <c:pt idx="1477">
                  <c:v>44213</c:v>
                </c:pt>
                <c:pt idx="1478">
                  <c:v>44214</c:v>
                </c:pt>
                <c:pt idx="1479">
                  <c:v>44215</c:v>
                </c:pt>
                <c:pt idx="1480">
                  <c:v>44216</c:v>
                </c:pt>
                <c:pt idx="1481">
                  <c:v>44217</c:v>
                </c:pt>
                <c:pt idx="1482">
                  <c:v>44218</c:v>
                </c:pt>
                <c:pt idx="1483">
                  <c:v>44219</c:v>
                </c:pt>
                <c:pt idx="1484">
                  <c:v>44220</c:v>
                </c:pt>
                <c:pt idx="1485">
                  <c:v>44221</c:v>
                </c:pt>
                <c:pt idx="1486">
                  <c:v>44222</c:v>
                </c:pt>
                <c:pt idx="1487">
                  <c:v>44223</c:v>
                </c:pt>
                <c:pt idx="1488">
                  <c:v>44224</c:v>
                </c:pt>
                <c:pt idx="1489">
                  <c:v>44225</c:v>
                </c:pt>
                <c:pt idx="1490">
                  <c:v>44226</c:v>
                </c:pt>
                <c:pt idx="1491">
                  <c:v>44227</c:v>
                </c:pt>
                <c:pt idx="1492">
                  <c:v>44228</c:v>
                </c:pt>
                <c:pt idx="1493">
                  <c:v>44229</c:v>
                </c:pt>
                <c:pt idx="1494">
                  <c:v>44230</c:v>
                </c:pt>
                <c:pt idx="1495">
                  <c:v>44231</c:v>
                </c:pt>
                <c:pt idx="1496">
                  <c:v>44232</c:v>
                </c:pt>
                <c:pt idx="1497">
                  <c:v>44233</c:v>
                </c:pt>
                <c:pt idx="1498">
                  <c:v>44234</c:v>
                </c:pt>
                <c:pt idx="1499">
                  <c:v>44235</c:v>
                </c:pt>
                <c:pt idx="1500">
                  <c:v>44236</c:v>
                </c:pt>
                <c:pt idx="1501">
                  <c:v>44237</c:v>
                </c:pt>
                <c:pt idx="1502">
                  <c:v>44238</c:v>
                </c:pt>
                <c:pt idx="1503">
                  <c:v>44239</c:v>
                </c:pt>
                <c:pt idx="1504">
                  <c:v>44240</c:v>
                </c:pt>
                <c:pt idx="1505">
                  <c:v>44241</c:v>
                </c:pt>
                <c:pt idx="1506">
                  <c:v>44242</c:v>
                </c:pt>
                <c:pt idx="1507">
                  <c:v>44243</c:v>
                </c:pt>
                <c:pt idx="1508">
                  <c:v>44244</c:v>
                </c:pt>
                <c:pt idx="1509">
                  <c:v>44245</c:v>
                </c:pt>
                <c:pt idx="1510">
                  <c:v>44246</c:v>
                </c:pt>
                <c:pt idx="1511">
                  <c:v>44247</c:v>
                </c:pt>
                <c:pt idx="1512">
                  <c:v>44248</c:v>
                </c:pt>
                <c:pt idx="1513">
                  <c:v>44249</c:v>
                </c:pt>
                <c:pt idx="1514">
                  <c:v>44250</c:v>
                </c:pt>
                <c:pt idx="1515">
                  <c:v>44251</c:v>
                </c:pt>
                <c:pt idx="1516">
                  <c:v>44252</c:v>
                </c:pt>
                <c:pt idx="1517">
                  <c:v>44253</c:v>
                </c:pt>
                <c:pt idx="1518">
                  <c:v>44254</c:v>
                </c:pt>
                <c:pt idx="1519">
                  <c:v>44255</c:v>
                </c:pt>
                <c:pt idx="1520">
                  <c:v>44256</c:v>
                </c:pt>
                <c:pt idx="1521">
                  <c:v>44257</c:v>
                </c:pt>
                <c:pt idx="1522">
                  <c:v>44258</c:v>
                </c:pt>
                <c:pt idx="1523">
                  <c:v>44259</c:v>
                </c:pt>
                <c:pt idx="1524">
                  <c:v>44260</c:v>
                </c:pt>
                <c:pt idx="1525">
                  <c:v>44261</c:v>
                </c:pt>
                <c:pt idx="1526">
                  <c:v>44262</c:v>
                </c:pt>
                <c:pt idx="1527">
                  <c:v>44263</c:v>
                </c:pt>
                <c:pt idx="1528">
                  <c:v>44264</c:v>
                </c:pt>
                <c:pt idx="1529">
                  <c:v>44265</c:v>
                </c:pt>
                <c:pt idx="1530">
                  <c:v>44266</c:v>
                </c:pt>
                <c:pt idx="1531">
                  <c:v>44267</c:v>
                </c:pt>
                <c:pt idx="1532">
                  <c:v>44268</c:v>
                </c:pt>
                <c:pt idx="1533">
                  <c:v>44269</c:v>
                </c:pt>
                <c:pt idx="1534">
                  <c:v>44270</c:v>
                </c:pt>
                <c:pt idx="1535">
                  <c:v>44271</c:v>
                </c:pt>
                <c:pt idx="1536">
                  <c:v>44272</c:v>
                </c:pt>
                <c:pt idx="1537">
                  <c:v>44273</c:v>
                </c:pt>
                <c:pt idx="1538">
                  <c:v>44274</c:v>
                </c:pt>
                <c:pt idx="1539">
                  <c:v>44275</c:v>
                </c:pt>
                <c:pt idx="1540">
                  <c:v>44276</c:v>
                </c:pt>
                <c:pt idx="1541">
                  <c:v>44277</c:v>
                </c:pt>
                <c:pt idx="1542">
                  <c:v>44278</c:v>
                </c:pt>
                <c:pt idx="1543">
                  <c:v>44279</c:v>
                </c:pt>
                <c:pt idx="1544">
                  <c:v>44280</c:v>
                </c:pt>
                <c:pt idx="1545">
                  <c:v>44281</c:v>
                </c:pt>
                <c:pt idx="1546">
                  <c:v>44282</c:v>
                </c:pt>
                <c:pt idx="1547">
                  <c:v>44283</c:v>
                </c:pt>
                <c:pt idx="1548">
                  <c:v>44284</c:v>
                </c:pt>
                <c:pt idx="1549">
                  <c:v>44285</c:v>
                </c:pt>
                <c:pt idx="1550">
                  <c:v>44286</c:v>
                </c:pt>
                <c:pt idx="1551">
                  <c:v>44287</c:v>
                </c:pt>
                <c:pt idx="1552">
                  <c:v>44288</c:v>
                </c:pt>
                <c:pt idx="1553">
                  <c:v>44289</c:v>
                </c:pt>
                <c:pt idx="1554">
                  <c:v>44290</c:v>
                </c:pt>
                <c:pt idx="1555">
                  <c:v>44291</c:v>
                </c:pt>
                <c:pt idx="1556">
                  <c:v>44292</c:v>
                </c:pt>
                <c:pt idx="1557">
                  <c:v>44293</c:v>
                </c:pt>
                <c:pt idx="1558">
                  <c:v>44294</c:v>
                </c:pt>
                <c:pt idx="1559">
                  <c:v>44295</c:v>
                </c:pt>
                <c:pt idx="1560">
                  <c:v>44296</c:v>
                </c:pt>
                <c:pt idx="1561">
                  <c:v>44297</c:v>
                </c:pt>
                <c:pt idx="1562">
                  <c:v>44298</c:v>
                </c:pt>
                <c:pt idx="1563">
                  <c:v>44299</c:v>
                </c:pt>
                <c:pt idx="1564">
                  <c:v>44300</c:v>
                </c:pt>
                <c:pt idx="1565">
                  <c:v>44301</c:v>
                </c:pt>
                <c:pt idx="1566">
                  <c:v>44302</c:v>
                </c:pt>
                <c:pt idx="1567">
                  <c:v>44303</c:v>
                </c:pt>
                <c:pt idx="1568">
                  <c:v>44304</c:v>
                </c:pt>
                <c:pt idx="1569">
                  <c:v>44305</c:v>
                </c:pt>
                <c:pt idx="1570">
                  <c:v>44306</c:v>
                </c:pt>
                <c:pt idx="1571">
                  <c:v>44307</c:v>
                </c:pt>
                <c:pt idx="1572">
                  <c:v>44308</c:v>
                </c:pt>
                <c:pt idx="1573">
                  <c:v>44309</c:v>
                </c:pt>
                <c:pt idx="1574">
                  <c:v>44310</c:v>
                </c:pt>
                <c:pt idx="1575">
                  <c:v>44311</c:v>
                </c:pt>
                <c:pt idx="1576">
                  <c:v>44312</c:v>
                </c:pt>
                <c:pt idx="1577">
                  <c:v>44313</c:v>
                </c:pt>
                <c:pt idx="1578">
                  <c:v>44314</c:v>
                </c:pt>
                <c:pt idx="1579">
                  <c:v>44315</c:v>
                </c:pt>
                <c:pt idx="1580">
                  <c:v>44316</c:v>
                </c:pt>
                <c:pt idx="1581">
                  <c:v>44317</c:v>
                </c:pt>
                <c:pt idx="1582">
                  <c:v>44318</c:v>
                </c:pt>
                <c:pt idx="1583">
                  <c:v>44319</c:v>
                </c:pt>
                <c:pt idx="1584">
                  <c:v>44320</c:v>
                </c:pt>
                <c:pt idx="1585">
                  <c:v>44321</c:v>
                </c:pt>
                <c:pt idx="1586">
                  <c:v>44322</c:v>
                </c:pt>
                <c:pt idx="1587">
                  <c:v>44323</c:v>
                </c:pt>
                <c:pt idx="1588">
                  <c:v>44324</c:v>
                </c:pt>
                <c:pt idx="1589">
                  <c:v>44325</c:v>
                </c:pt>
                <c:pt idx="1590">
                  <c:v>44326</c:v>
                </c:pt>
                <c:pt idx="1591">
                  <c:v>44327</c:v>
                </c:pt>
                <c:pt idx="1592">
                  <c:v>44328</c:v>
                </c:pt>
                <c:pt idx="1593">
                  <c:v>44329</c:v>
                </c:pt>
                <c:pt idx="1594">
                  <c:v>44330</c:v>
                </c:pt>
                <c:pt idx="1595">
                  <c:v>44331</c:v>
                </c:pt>
                <c:pt idx="1596">
                  <c:v>44332</c:v>
                </c:pt>
                <c:pt idx="1597">
                  <c:v>44333</c:v>
                </c:pt>
                <c:pt idx="1598">
                  <c:v>44334</c:v>
                </c:pt>
                <c:pt idx="1599">
                  <c:v>44335</c:v>
                </c:pt>
                <c:pt idx="1600">
                  <c:v>44336</c:v>
                </c:pt>
                <c:pt idx="1601">
                  <c:v>44337</c:v>
                </c:pt>
                <c:pt idx="1602">
                  <c:v>44338</c:v>
                </c:pt>
                <c:pt idx="1603">
                  <c:v>44339</c:v>
                </c:pt>
                <c:pt idx="1604">
                  <c:v>44340</c:v>
                </c:pt>
                <c:pt idx="1605">
                  <c:v>44341</c:v>
                </c:pt>
                <c:pt idx="1606">
                  <c:v>44342</c:v>
                </c:pt>
                <c:pt idx="1607">
                  <c:v>44343</c:v>
                </c:pt>
                <c:pt idx="1608">
                  <c:v>44344</c:v>
                </c:pt>
                <c:pt idx="1609">
                  <c:v>44345</c:v>
                </c:pt>
                <c:pt idx="1610">
                  <c:v>44346</c:v>
                </c:pt>
                <c:pt idx="1611">
                  <c:v>44347</c:v>
                </c:pt>
                <c:pt idx="1612">
                  <c:v>44348</c:v>
                </c:pt>
                <c:pt idx="1613">
                  <c:v>44349</c:v>
                </c:pt>
                <c:pt idx="1614">
                  <c:v>44350</c:v>
                </c:pt>
                <c:pt idx="1615">
                  <c:v>44351</c:v>
                </c:pt>
                <c:pt idx="1616">
                  <c:v>44352</c:v>
                </c:pt>
                <c:pt idx="1617">
                  <c:v>44353</c:v>
                </c:pt>
                <c:pt idx="1618">
                  <c:v>44354</c:v>
                </c:pt>
                <c:pt idx="1619">
                  <c:v>44355</c:v>
                </c:pt>
                <c:pt idx="1620">
                  <c:v>44356</c:v>
                </c:pt>
                <c:pt idx="1621">
                  <c:v>44357</c:v>
                </c:pt>
                <c:pt idx="1622">
                  <c:v>44358</c:v>
                </c:pt>
                <c:pt idx="1623">
                  <c:v>44359</c:v>
                </c:pt>
                <c:pt idx="1624">
                  <c:v>44360</c:v>
                </c:pt>
                <c:pt idx="1625">
                  <c:v>44361</c:v>
                </c:pt>
                <c:pt idx="1626">
                  <c:v>44362</c:v>
                </c:pt>
                <c:pt idx="1627">
                  <c:v>44363</c:v>
                </c:pt>
                <c:pt idx="1628">
                  <c:v>44364</c:v>
                </c:pt>
                <c:pt idx="1629">
                  <c:v>44365</c:v>
                </c:pt>
                <c:pt idx="1630">
                  <c:v>44366</c:v>
                </c:pt>
                <c:pt idx="1631">
                  <c:v>44367</c:v>
                </c:pt>
                <c:pt idx="1632">
                  <c:v>44368</c:v>
                </c:pt>
                <c:pt idx="1633">
                  <c:v>44369</c:v>
                </c:pt>
                <c:pt idx="1634">
                  <c:v>44370</c:v>
                </c:pt>
                <c:pt idx="1635">
                  <c:v>44371</c:v>
                </c:pt>
                <c:pt idx="1636">
                  <c:v>44372</c:v>
                </c:pt>
                <c:pt idx="1637">
                  <c:v>44373</c:v>
                </c:pt>
                <c:pt idx="1638">
                  <c:v>44374</c:v>
                </c:pt>
                <c:pt idx="1639">
                  <c:v>44375</c:v>
                </c:pt>
                <c:pt idx="1640">
                  <c:v>44376</c:v>
                </c:pt>
                <c:pt idx="1641">
                  <c:v>44377</c:v>
                </c:pt>
                <c:pt idx="1642">
                  <c:v>44378</c:v>
                </c:pt>
                <c:pt idx="1643">
                  <c:v>44379</c:v>
                </c:pt>
                <c:pt idx="1644">
                  <c:v>44380</c:v>
                </c:pt>
                <c:pt idx="1645">
                  <c:v>44381</c:v>
                </c:pt>
                <c:pt idx="1646">
                  <c:v>44382</c:v>
                </c:pt>
                <c:pt idx="1647">
                  <c:v>44383</c:v>
                </c:pt>
                <c:pt idx="1648">
                  <c:v>44384</c:v>
                </c:pt>
                <c:pt idx="1649">
                  <c:v>44385</c:v>
                </c:pt>
                <c:pt idx="1650">
                  <c:v>44386</c:v>
                </c:pt>
                <c:pt idx="1651">
                  <c:v>44387</c:v>
                </c:pt>
                <c:pt idx="1652">
                  <c:v>44388</c:v>
                </c:pt>
                <c:pt idx="1653">
                  <c:v>44389</c:v>
                </c:pt>
                <c:pt idx="1654">
                  <c:v>44390</c:v>
                </c:pt>
                <c:pt idx="1655">
                  <c:v>44391</c:v>
                </c:pt>
                <c:pt idx="1656">
                  <c:v>44392</c:v>
                </c:pt>
                <c:pt idx="1657">
                  <c:v>44393</c:v>
                </c:pt>
                <c:pt idx="1658">
                  <c:v>44394</c:v>
                </c:pt>
                <c:pt idx="1659">
                  <c:v>44395</c:v>
                </c:pt>
                <c:pt idx="1660">
                  <c:v>44396</c:v>
                </c:pt>
                <c:pt idx="1661">
                  <c:v>44397</c:v>
                </c:pt>
                <c:pt idx="1662">
                  <c:v>44398</c:v>
                </c:pt>
                <c:pt idx="1663">
                  <c:v>44399</c:v>
                </c:pt>
                <c:pt idx="1664">
                  <c:v>44400</c:v>
                </c:pt>
                <c:pt idx="1665">
                  <c:v>44401</c:v>
                </c:pt>
                <c:pt idx="1666">
                  <c:v>44402</c:v>
                </c:pt>
                <c:pt idx="1667">
                  <c:v>44403</c:v>
                </c:pt>
                <c:pt idx="1668">
                  <c:v>44404</c:v>
                </c:pt>
                <c:pt idx="1669">
                  <c:v>44405</c:v>
                </c:pt>
                <c:pt idx="1670">
                  <c:v>44406</c:v>
                </c:pt>
                <c:pt idx="1671">
                  <c:v>44407</c:v>
                </c:pt>
                <c:pt idx="1672">
                  <c:v>44408</c:v>
                </c:pt>
                <c:pt idx="1673">
                  <c:v>44409</c:v>
                </c:pt>
                <c:pt idx="1674">
                  <c:v>44410</c:v>
                </c:pt>
                <c:pt idx="1675">
                  <c:v>44411</c:v>
                </c:pt>
                <c:pt idx="1676">
                  <c:v>44412</c:v>
                </c:pt>
                <c:pt idx="1677">
                  <c:v>44413</c:v>
                </c:pt>
                <c:pt idx="1678">
                  <c:v>44414</c:v>
                </c:pt>
                <c:pt idx="1679">
                  <c:v>44415</c:v>
                </c:pt>
                <c:pt idx="1680">
                  <c:v>44416</c:v>
                </c:pt>
                <c:pt idx="1681">
                  <c:v>44417</c:v>
                </c:pt>
                <c:pt idx="1682">
                  <c:v>44418</c:v>
                </c:pt>
                <c:pt idx="1683">
                  <c:v>44419</c:v>
                </c:pt>
                <c:pt idx="1684">
                  <c:v>44420</c:v>
                </c:pt>
                <c:pt idx="1685">
                  <c:v>44421</c:v>
                </c:pt>
                <c:pt idx="1686">
                  <c:v>44422</c:v>
                </c:pt>
                <c:pt idx="1687">
                  <c:v>44423</c:v>
                </c:pt>
                <c:pt idx="1688">
                  <c:v>44424</c:v>
                </c:pt>
                <c:pt idx="1689">
                  <c:v>44425</c:v>
                </c:pt>
                <c:pt idx="1690">
                  <c:v>44426</c:v>
                </c:pt>
                <c:pt idx="1691">
                  <c:v>44427</c:v>
                </c:pt>
                <c:pt idx="1692">
                  <c:v>44428</c:v>
                </c:pt>
                <c:pt idx="1693">
                  <c:v>44429</c:v>
                </c:pt>
                <c:pt idx="1694">
                  <c:v>44430</c:v>
                </c:pt>
                <c:pt idx="1695">
                  <c:v>44431</c:v>
                </c:pt>
                <c:pt idx="1696">
                  <c:v>44432</c:v>
                </c:pt>
                <c:pt idx="1697">
                  <c:v>44433</c:v>
                </c:pt>
                <c:pt idx="1698">
                  <c:v>44434</c:v>
                </c:pt>
                <c:pt idx="1699">
                  <c:v>44435</c:v>
                </c:pt>
                <c:pt idx="1700">
                  <c:v>44436</c:v>
                </c:pt>
                <c:pt idx="1701">
                  <c:v>44437</c:v>
                </c:pt>
                <c:pt idx="1702">
                  <c:v>44438</c:v>
                </c:pt>
                <c:pt idx="1703">
                  <c:v>44439</c:v>
                </c:pt>
                <c:pt idx="1704">
                  <c:v>44440</c:v>
                </c:pt>
                <c:pt idx="1705">
                  <c:v>44441</c:v>
                </c:pt>
                <c:pt idx="1706">
                  <c:v>44442</c:v>
                </c:pt>
                <c:pt idx="1707">
                  <c:v>44443</c:v>
                </c:pt>
                <c:pt idx="1708">
                  <c:v>44444</c:v>
                </c:pt>
                <c:pt idx="1709">
                  <c:v>44445</c:v>
                </c:pt>
                <c:pt idx="1710">
                  <c:v>44446</c:v>
                </c:pt>
                <c:pt idx="1711">
                  <c:v>44447</c:v>
                </c:pt>
                <c:pt idx="1712">
                  <c:v>44448</c:v>
                </c:pt>
                <c:pt idx="1713">
                  <c:v>44449</c:v>
                </c:pt>
                <c:pt idx="1714">
                  <c:v>44450</c:v>
                </c:pt>
                <c:pt idx="1715">
                  <c:v>44451</c:v>
                </c:pt>
                <c:pt idx="1716">
                  <c:v>44452</c:v>
                </c:pt>
                <c:pt idx="1717">
                  <c:v>44453</c:v>
                </c:pt>
                <c:pt idx="1718">
                  <c:v>44454</c:v>
                </c:pt>
                <c:pt idx="1719">
                  <c:v>44455</c:v>
                </c:pt>
                <c:pt idx="1720">
                  <c:v>44456</c:v>
                </c:pt>
                <c:pt idx="1721">
                  <c:v>44457</c:v>
                </c:pt>
                <c:pt idx="1722">
                  <c:v>44458</c:v>
                </c:pt>
                <c:pt idx="1723">
                  <c:v>44459</c:v>
                </c:pt>
                <c:pt idx="1724">
                  <c:v>44460</c:v>
                </c:pt>
                <c:pt idx="1725">
                  <c:v>44461</c:v>
                </c:pt>
                <c:pt idx="1726">
                  <c:v>44462</c:v>
                </c:pt>
                <c:pt idx="1727">
                  <c:v>44463</c:v>
                </c:pt>
                <c:pt idx="1728">
                  <c:v>44464</c:v>
                </c:pt>
                <c:pt idx="1729">
                  <c:v>44465</c:v>
                </c:pt>
                <c:pt idx="1730">
                  <c:v>44466</c:v>
                </c:pt>
                <c:pt idx="1731">
                  <c:v>44467</c:v>
                </c:pt>
                <c:pt idx="1732">
                  <c:v>44468</c:v>
                </c:pt>
                <c:pt idx="1733">
                  <c:v>44469</c:v>
                </c:pt>
                <c:pt idx="1734">
                  <c:v>44470</c:v>
                </c:pt>
                <c:pt idx="1735">
                  <c:v>44471</c:v>
                </c:pt>
                <c:pt idx="1736">
                  <c:v>44472</c:v>
                </c:pt>
                <c:pt idx="1737">
                  <c:v>44473</c:v>
                </c:pt>
                <c:pt idx="1738">
                  <c:v>44474</c:v>
                </c:pt>
                <c:pt idx="1739">
                  <c:v>44475</c:v>
                </c:pt>
                <c:pt idx="1740">
                  <c:v>44476</c:v>
                </c:pt>
                <c:pt idx="1741">
                  <c:v>44477</c:v>
                </c:pt>
                <c:pt idx="1742">
                  <c:v>44478</c:v>
                </c:pt>
                <c:pt idx="1743">
                  <c:v>44479</c:v>
                </c:pt>
                <c:pt idx="1744">
                  <c:v>44480</c:v>
                </c:pt>
                <c:pt idx="1745">
                  <c:v>44481</c:v>
                </c:pt>
                <c:pt idx="1746">
                  <c:v>44482</c:v>
                </c:pt>
                <c:pt idx="1747">
                  <c:v>44483</c:v>
                </c:pt>
                <c:pt idx="1748">
                  <c:v>44484</c:v>
                </c:pt>
                <c:pt idx="1749">
                  <c:v>44485</c:v>
                </c:pt>
                <c:pt idx="1750">
                  <c:v>44486</c:v>
                </c:pt>
                <c:pt idx="1751">
                  <c:v>44487</c:v>
                </c:pt>
                <c:pt idx="1752">
                  <c:v>44488</c:v>
                </c:pt>
                <c:pt idx="1753">
                  <c:v>44489</c:v>
                </c:pt>
                <c:pt idx="1754">
                  <c:v>44490</c:v>
                </c:pt>
                <c:pt idx="1755">
                  <c:v>44491</c:v>
                </c:pt>
                <c:pt idx="1756">
                  <c:v>44492</c:v>
                </c:pt>
                <c:pt idx="1757">
                  <c:v>44493</c:v>
                </c:pt>
                <c:pt idx="1758">
                  <c:v>44494</c:v>
                </c:pt>
                <c:pt idx="1759">
                  <c:v>44495</c:v>
                </c:pt>
                <c:pt idx="1760">
                  <c:v>44496</c:v>
                </c:pt>
                <c:pt idx="1761">
                  <c:v>44497</c:v>
                </c:pt>
                <c:pt idx="1762">
                  <c:v>44498</c:v>
                </c:pt>
                <c:pt idx="1763">
                  <c:v>44499</c:v>
                </c:pt>
                <c:pt idx="1764">
                  <c:v>44500</c:v>
                </c:pt>
                <c:pt idx="1765">
                  <c:v>44501</c:v>
                </c:pt>
                <c:pt idx="1766">
                  <c:v>44502</c:v>
                </c:pt>
                <c:pt idx="1767">
                  <c:v>44503</c:v>
                </c:pt>
                <c:pt idx="1768">
                  <c:v>44504</c:v>
                </c:pt>
                <c:pt idx="1769">
                  <c:v>44505</c:v>
                </c:pt>
                <c:pt idx="1770">
                  <c:v>44506</c:v>
                </c:pt>
                <c:pt idx="1771">
                  <c:v>44507</c:v>
                </c:pt>
                <c:pt idx="1772">
                  <c:v>44508</c:v>
                </c:pt>
                <c:pt idx="1773">
                  <c:v>44509</c:v>
                </c:pt>
                <c:pt idx="1774">
                  <c:v>44510</c:v>
                </c:pt>
                <c:pt idx="1775">
                  <c:v>44511</c:v>
                </c:pt>
                <c:pt idx="1776">
                  <c:v>44512</c:v>
                </c:pt>
                <c:pt idx="1777">
                  <c:v>44513</c:v>
                </c:pt>
                <c:pt idx="1778">
                  <c:v>44514</c:v>
                </c:pt>
                <c:pt idx="1779">
                  <c:v>44515</c:v>
                </c:pt>
                <c:pt idx="1780">
                  <c:v>44516</c:v>
                </c:pt>
                <c:pt idx="1781">
                  <c:v>44517</c:v>
                </c:pt>
                <c:pt idx="1782">
                  <c:v>44518</c:v>
                </c:pt>
                <c:pt idx="1783">
                  <c:v>44519</c:v>
                </c:pt>
                <c:pt idx="1784">
                  <c:v>44520</c:v>
                </c:pt>
                <c:pt idx="1785">
                  <c:v>44521</c:v>
                </c:pt>
                <c:pt idx="1786">
                  <c:v>44522</c:v>
                </c:pt>
                <c:pt idx="1787">
                  <c:v>44523</c:v>
                </c:pt>
                <c:pt idx="1788">
                  <c:v>44524</c:v>
                </c:pt>
                <c:pt idx="1789">
                  <c:v>44525</c:v>
                </c:pt>
                <c:pt idx="1790">
                  <c:v>44526</c:v>
                </c:pt>
                <c:pt idx="1791">
                  <c:v>44527</c:v>
                </c:pt>
                <c:pt idx="1792">
                  <c:v>44528</c:v>
                </c:pt>
                <c:pt idx="1793">
                  <c:v>44529</c:v>
                </c:pt>
                <c:pt idx="1794">
                  <c:v>44530</c:v>
                </c:pt>
                <c:pt idx="1795">
                  <c:v>44531</c:v>
                </c:pt>
                <c:pt idx="1796">
                  <c:v>44532</c:v>
                </c:pt>
                <c:pt idx="1797">
                  <c:v>44533</c:v>
                </c:pt>
                <c:pt idx="1798">
                  <c:v>44534</c:v>
                </c:pt>
                <c:pt idx="1799">
                  <c:v>44535</c:v>
                </c:pt>
                <c:pt idx="1800">
                  <c:v>44536</c:v>
                </c:pt>
                <c:pt idx="1801">
                  <c:v>44537</c:v>
                </c:pt>
                <c:pt idx="1802">
                  <c:v>44538</c:v>
                </c:pt>
                <c:pt idx="1803">
                  <c:v>44539</c:v>
                </c:pt>
                <c:pt idx="1804">
                  <c:v>44540</c:v>
                </c:pt>
                <c:pt idx="1805">
                  <c:v>44541</c:v>
                </c:pt>
                <c:pt idx="1806">
                  <c:v>44542</c:v>
                </c:pt>
                <c:pt idx="1807">
                  <c:v>44543</c:v>
                </c:pt>
                <c:pt idx="1808">
                  <c:v>44544</c:v>
                </c:pt>
                <c:pt idx="1809">
                  <c:v>44545</c:v>
                </c:pt>
                <c:pt idx="1810">
                  <c:v>44546</c:v>
                </c:pt>
                <c:pt idx="1811">
                  <c:v>44547</c:v>
                </c:pt>
                <c:pt idx="1812">
                  <c:v>44548</c:v>
                </c:pt>
                <c:pt idx="1813">
                  <c:v>44549</c:v>
                </c:pt>
                <c:pt idx="1814">
                  <c:v>44550</c:v>
                </c:pt>
                <c:pt idx="1815">
                  <c:v>44551</c:v>
                </c:pt>
                <c:pt idx="1816">
                  <c:v>44552</c:v>
                </c:pt>
                <c:pt idx="1817">
                  <c:v>44553</c:v>
                </c:pt>
                <c:pt idx="1818">
                  <c:v>44554</c:v>
                </c:pt>
                <c:pt idx="1819">
                  <c:v>44555</c:v>
                </c:pt>
                <c:pt idx="1820">
                  <c:v>44556</c:v>
                </c:pt>
                <c:pt idx="1821">
                  <c:v>44557</c:v>
                </c:pt>
                <c:pt idx="1822">
                  <c:v>44558</c:v>
                </c:pt>
                <c:pt idx="1823">
                  <c:v>44559</c:v>
                </c:pt>
                <c:pt idx="1824">
                  <c:v>44560</c:v>
                </c:pt>
                <c:pt idx="1825">
                  <c:v>44561</c:v>
                </c:pt>
                <c:pt idx="1826">
                  <c:v>44562</c:v>
                </c:pt>
                <c:pt idx="1827">
                  <c:v>44563</c:v>
                </c:pt>
                <c:pt idx="1828">
                  <c:v>44564</c:v>
                </c:pt>
                <c:pt idx="1829">
                  <c:v>44565</c:v>
                </c:pt>
                <c:pt idx="1830">
                  <c:v>44566</c:v>
                </c:pt>
                <c:pt idx="1831">
                  <c:v>44567</c:v>
                </c:pt>
                <c:pt idx="1832">
                  <c:v>44568</c:v>
                </c:pt>
                <c:pt idx="1833">
                  <c:v>44569</c:v>
                </c:pt>
                <c:pt idx="1834">
                  <c:v>44570</c:v>
                </c:pt>
                <c:pt idx="1835">
                  <c:v>44571</c:v>
                </c:pt>
                <c:pt idx="1836">
                  <c:v>44572</c:v>
                </c:pt>
                <c:pt idx="1837">
                  <c:v>44573</c:v>
                </c:pt>
                <c:pt idx="1838">
                  <c:v>44574</c:v>
                </c:pt>
                <c:pt idx="1839">
                  <c:v>44575</c:v>
                </c:pt>
                <c:pt idx="1840">
                  <c:v>44576</c:v>
                </c:pt>
                <c:pt idx="1841">
                  <c:v>44577</c:v>
                </c:pt>
                <c:pt idx="1842">
                  <c:v>44578</c:v>
                </c:pt>
                <c:pt idx="1843">
                  <c:v>44579</c:v>
                </c:pt>
                <c:pt idx="1844">
                  <c:v>44580</c:v>
                </c:pt>
                <c:pt idx="1845">
                  <c:v>44581</c:v>
                </c:pt>
                <c:pt idx="1846">
                  <c:v>44582</c:v>
                </c:pt>
                <c:pt idx="1847">
                  <c:v>44583</c:v>
                </c:pt>
                <c:pt idx="1848">
                  <c:v>44584</c:v>
                </c:pt>
                <c:pt idx="1849">
                  <c:v>44585</c:v>
                </c:pt>
                <c:pt idx="1850">
                  <c:v>44586</c:v>
                </c:pt>
                <c:pt idx="1851">
                  <c:v>44587</c:v>
                </c:pt>
                <c:pt idx="1852">
                  <c:v>44588</c:v>
                </c:pt>
                <c:pt idx="1853">
                  <c:v>44589</c:v>
                </c:pt>
                <c:pt idx="1854">
                  <c:v>44590</c:v>
                </c:pt>
                <c:pt idx="1855">
                  <c:v>44591</c:v>
                </c:pt>
                <c:pt idx="1856">
                  <c:v>44592</c:v>
                </c:pt>
                <c:pt idx="1857">
                  <c:v>44593</c:v>
                </c:pt>
                <c:pt idx="1858">
                  <c:v>44594</c:v>
                </c:pt>
                <c:pt idx="1859">
                  <c:v>44595</c:v>
                </c:pt>
                <c:pt idx="1860">
                  <c:v>44596</c:v>
                </c:pt>
                <c:pt idx="1861">
                  <c:v>44597</c:v>
                </c:pt>
                <c:pt idx="1862">
                  <c:v>44598</c:v>
                </c:pt>
                <c:pt idx="1863">
                  <c:v>44599</c:v>
                </c:pt>
                <c:pt idx="1864">
                  <c:v>44600</c:v>
                </c:pt>
                <c:pt idx="1865">
                  <c:v>44601</c:v>
                </c:pt>
                <c:pt idx="1866">
                  <c:v>44602</c:v>
                </c:pt>
                <c:pt idx="1867">
                  <c:v>44603</c:v>
                </c:pt>
                <c:pt idx="1868">
                  <c:v>44604</c:v>
                </c:pt>
                <c:pt idx="1869">
                  <c:v>44605</c:v>
                </c:pt>
                <c:pt idx="1870">
                  <c:v>44606</c:v>
                </c:pt>
                <c:pt idx="1871">
                  <c:v>44607</c:v>
                </c:pt>
                <c:pt idx="1872">
                  <c:v>44608</c:v>
                </c:pt>
                <c:pt idx="1873">
                  <c:v>44609</c:v>
                </c:pt>
                <c:pt idx="1874">
                  <c:v>44610</c:v>
                </c:pt>
                <c:pt idx="1875">
                  <c:v>44611</c:v>
                </c:pt>
                <c:pt idx="1876">
                  <c:v>44612</c:v>
                </c:pt>
                <c:pt idx="1877">
                  <c:v>44613</c:v>
                </c:pt>
                <c:pt idx="1878">
                  <c:v>44614</c:v>
                </c:pt>
                <c:pt idx="1879">
                  <c:v>44615</c:v>
                </c:pt>
                <c:pt idx="1880">
                  <c:v>44616</c:v>
                </c:pt>
                <c:pt idx="1881">
                  <c:v>44617</c:v>
                </c:pt>
                <c:pt idx="1882">
                  <c:v>44618</c:v>
                </c:pt>
                <c:pt idx="1883">
                  <c:v>44619</c:v>
                </c:pt>
                <c:pt idx="1884">
                  <c:v>44620</c:v>
                </c:pt>
                <c:pt idx="1885">
                  <c:v>44621</c:v>
                </c:pt>
                <c:pt idx="1886">
                  <c:v>44622</c:v>
                </c:pt>
                <c:pt idx="1887">
                  <c:v>44623</c:v>
                </c:pt>
                <c:pt idx="1888">
                  <c:v>44624</c:v>
                </c:pt>
                <c:pt idx="1889">
                  <c:v>44625</c:v>
                </c:pt>
                <c:pt idx="1890">
                  <c:v>44626</c:v>
                </c:pt>
                <c:pt idx="1891">
                  <c:v>44627</c:v>
                </c:pt>
                <c:pt idx="1892">
                  <c:v>44628</c:v>
                </c:pt>
                <c:pt idx="1893">
                  <c:v>44629</c:v>
                </c:pt>
                <c:pt idx="1894">
                  <c:v>44630</c:v>
                </c:pt>
                <c:pt idx="1895">
                  <c:v>44631</c:v>
                </c:pt>
                <c:pt idx="1896">
                  <c:v>44632</c:v>
                </c:pt>
                <c:pt idx="1897">
                  <c:v>44633</c:v>
                </c:pt>
                <c:pt idx="1898">
                  <c:v>44634</c:v>
                </c:pt>
                <c:pt idx="1899">
                  <c:v>44635</c:v>
                </c:pt>
                <c:pt idx="1900">
                  <c:v>44636</c:v>
                </c:pt>
                <c:pt idx="1901">
                  <c:v>44637</c:v>
                </c:pt>
                <c:pt idx="1902">
                  <c:v>44638</c:v>
                </c:pt>
                <c:pt idx="1903">
                  <c:v>44639</c:v>
                </c:pt>
                <c:pt idx="1904">
                  <c:v>44640</c:v>
                </c:pt>
                <c:pt idx="1905">
                  <c:v>44641</c:v>
                </c:pt>
                <c:pt idx="1906">
                  <c:v>44642</c:v>
                </c:pt>
                <c:pt idx="1907">
                  <c:v>44643</c:v>
                </c:pt>
                <c:pt idx="1908">
                  <c:v>44644</c:v>
                </c:pt>
                <c:pt idx="1909">
                  <c:v>44645</c:v>
                </c:pt>
                <c:pt idx="1910">
                  <c:v>44646</c:v>
                </c:pt>
                <c:pt idx="1911">
                  <c:v>44647</c:v>
                </c:pt>
                <c:pt idx="1912">
                  <c:v>44648</c:v>
                </c:pt>
                <c:pt idx="1913">
                  <c:v>44649</c:v>
                </c:pt>
                <c:pt idx="1914">
                  <c:v>44650</c:v>
                </c:pt>
                <c:pt idx="1915">
                  <c:v>44651</c:v>
                </c:pt>
                <c:pt idx="1916">
                  <c:v>44652</c:v>
                </c:pt>
                <c:pt idx="1917">
                  <c:v>44653</c:v>
                </c:pt>
                <c:pt idx="1918">
                  <c:v>44654</c:v>
                </c:pt>
                <c:pt idx="1919">
                  <c:v>44655</c:v>
                </c:pt>
                <c:pt idx="1920">
                  <c:v>44656</c:v>
                </c:pt>
                <c:pt idx="1921">
                  <c:v>44657</c:v>
                </c:pt>
                <c:pt idx="1922">
                  <c:v>44658</c:v>
                </c:pt>
                <c:pt idx="1923">
                  <c:v>44659</c:v>
                </c:pt>
                <c:pt idx="1924">
                  <c:v>44660</c:v>
                </c:pt>
                <c:pt idx="1925">
                  <c:v>44661</c:v>
                </c:pt>
                <c:pt idx="1926">
                  <c:v>44662</c:v>
                </c:pt>
                <c:pt idx="1927">
                  <c:v>44663</c:v>
                </c:pt>
                <c:pt idx="1928">
                  <c:v>44664</c:v>
                </c:pt>
                <c:pt idx="1929">
                  <c:v>44665</c:v>
                </c:pt>
                <c:pt idx="1930">
                  <c:v>44666</c:v>
                </c:pt>
                <c:pt idx="1931">
                  <c:v>44667</c:v>
                </c:pt>
                <c:pt idx="1932">
                  <c:v>44668</c:v>
                </c:pt>
                <c:pt idx="1933">
                  <c:v>44669</c:v>
                </c:pt>
                <c:pt idx="1934">
                  <c:v>44670</c:v>
                </c:pt>
                <c:pt idx="1935">
                  <c:v>44671</c:v>
                </c:pt>
                <c:pt idx="1936">
                  <c:v>44672</c:v>
                </c:pt>
                <c:pt idx="1937">
                  <c:v>44673</c:v>
                </c:pt>
                <c:pt idx="1938">
                  <c:v>44674</c:v>
                </c:pt>
                <c:pt idx="1939">
                  <c:v>44675</c:v>
                </c:pt>
                <c:pt idx="1940">
                  <c:v>44676</c:v>
                </c:pt>
                <c:pt idx="1941">
                  <c:v>44677</c:v>
                </c:pt>
                <c:pt idx="1942">
                  <c:v>44678</c:v>
                </c:pt>
                <c:pt idx="1943">
                  <c:v>44679</c:v>
                </c:pt>
                <c:pt idx="1944">
                  <c:v>44680</c:v>
                </c:pt>
                <c:pt idx="1945">
                  <c:v>44681</c:v>
                </c:pt>
                <c:pt idx="1946">
                  <c:v>44682</c:v>
                </c:pt>
                <c:pt idx="1947">
                  <c:v>44683</c:v>
                </c:pt>
                <c:pt idx="1948">
                  <c:v>44684</c:v>
                </c:pt>
                <c:pt idx="1949">
                  <c:v>44685</c:v>
                </c:pt>
                <c:pt idx="1950">
                  <c:v>44686</c:v>
                </c:pt>
                <c:pt idx="1951">
                  <c:v>44687</c:v>
                </c:pt>
                <c:pt idx="1952">
                  <c:v>44688</c:v>
                </c:pt>
                <c:pt idx="1953">
                  <c:v>44689</c:v>
                </c:pt>
                <c:pt idx="1954">
                  <c:v>44690</c:v>
                </c:pt>
                <c:pt idx="1955">
                  <c:v>44691</c:v>
                </c:pt>
                <c:pt idx="1956">
                  <c:v>44692</c:v>
                </c:pt>
                <c:pt idx="1957">
                  <c:v>44693</c:v>
                </c:pt>
                <c:pt idx="1958">
                  <c:v>44694</c:v>
                </c:pt>
                <c:pt idx="1959">
                  <c:v>44695</c:v>
                </c:pt>
                <c:pt idx="1960">
                  <c:v>44696</c:v>
                </c:pt>
                <c:pt idx="1961">
                  <c:v>44697</c:v>
                </c:pt>
                <c:pt idx="1962">
                  <c:v>44698</c:v>
                </c:pt>
                <c:pt idx="1963">
                  <c:v>44699</c:v>
                </c:pt>
                <c:pt idx="1964">
                  <c:v>44700</c:v>
                </c:pt>
                <c:pt idx="1965">
                  <c:v>44701</c:v>
                </c:pt>
                <c:pt idx="1966">
                  <c:v>44702</c:v>
                </c:pt>
                <c:pt idx="1967">
                  <c:v>44703</c:v>
                </c:pt>
                <c:pt idx="1968">
                  <c:v>44704</c:v>
                </c:pt>
                <c:pt idx="1969">
                  <c:v>44705</c:v>
                </c:pt>
                <c:pt idx="1970">
                  <c:v>44706</c:v>
                </c:pt>
                <c:pt idx="1971">
                  <c:v>44707</c:v>
                </c:pt>
                <c:pt idx="1972">
                  <c:v>44708</c:v>
                </c:pt>
                <c:pt idx="1973">
                  <c:v>44709</c:v>
                </c:pt>
                <c:pt idx="1974">
                  <c:v>44710</c:v>
                </c:pt>
                <c:pt idx="1975">
                  <c:v>44711</c:v>
                </c:pt>
                <c:pt idx="1976">
                  <c:v>44712</c:v>
                </c:pt>
                <c:pt idx="1977">
                  <c:v>44713</c:v>
                </c:pt>
                <c:pt idx="1978">
                  <c:v>44714</c:v>
                </c:pt>
                <c:pt idx="1979">
                  <c:v>44715</c:v>
                </c:pt>
                <c:pt idx="1980">
                  <c:v>44716</c:v>
                </c:pt>
                <c:pt idx="1981">
                  <c:v>44717</c:v>
                </c:pt>
                <c:pt idx="1982">
                  <c:v>44718</c:v>
                </c:pt>
                <c:pt idx="1983">
                  <c:v>44719</c:v>
                </c:pt>
                <c:pt idx="1984">
                  <c:v>44720</c:v>
                </c:pt>
                <c:pt idx="1985">
                  <c:v>44721</c:v>
                </c:pt>
                <c:pt idx="1986">
                  <c:v>44722</c:v>
                </c:pt>
                <c:pt idx="1987">
                  <c:v>44723</c:v>
                </c:pt>
                <c:pt idx="1988">
                  <c:v>44724</c:v>
                </c:pt>
                <c:pt idx="1989">
                  <c:v>44725</c:v>
                </c:pt>
                <c:pt idx="1990">
                  <c:v>44726</c:v>
                </c:pt>
                <c:pt idx="1991">
                  <c:v>44727</c:v>
                </c:pt>
                <c:pt idx="1992">
                  <c:v>44728</c:v>
                </c:pt>
                <c:pt idx="1993">
                  <c:v>44729</c:v>
                </c:pt>
                <c:pt idx="1994">
                  <c:v>44730</c:v>
                </c:pt>
                <c:pt idx="1995">
                  <c:v>44731</c:v>
                </c:pt>
                <c:pt idx="1996">
                  <c:v>44732</c:v>
                </c:pt>
                <c:pt idx="1997">
                  <c:v>44733</c:v>
                </c:pt>
                <c:pt idx="1998">
                  <c:v>44734</c:v>
                </c:pt>
                <c:pt idx="1999">
                  <c:v>44735</c:v>
                </c:pt>
                <c:pt idx="2000">
                  <c:v>44736</c:v>
                </c:pt>
                <c:pt idx="2001">
                  <c:v>44737</c:v>
                </c:pt>
                <c:pt idx="2002">
                  <c:v>44738</c:v>
                </c:pt>
                <c:pt idx="2003">
                  <c:v>44739</c:v>
                </c:pt>
                <c:pt idx="2004">
                  <c:v>44740</c:v>
                </c:pt>
                <c:pt idx="2005">
                  <c:v>44741</c:v>
                </c:pt>
                <c:pt idx="2006">
                  <c:v>44742</c:v>
                </c:pt>
                <c:pt idx="2007">
                  <c:v>44743</c:v>
                </c:pt>
                <c:pt idx="2008">
                  <c:v>44744</c:v>
                </c:pt>
                <c:pt idx="2009">
                  <c:v>44745</c:v>
                </c:pt>
                <c:pt idx="2010">
                  <c:v>44746</c:v>
                </c:pt>
                <c:pt idx="2011">
                  <c:v>44747</c:v>
                </c:pt>
                <c:pt idx="2012">
                  <c:v>44748</c:v>
                </c:pt>
                <c:pt idx="2013">
                  <c:v>44749</c:v>
                </c:pt>
                <c:pt idx="2014">
                  <c:v>44750</c:v>
                </c:pt>
                <c:pt idx="2015">
                  <c:v>44751</c:v>
                </c:pt>
                <c:pt idx="2016">
                  <c:v>44752</c:v>
                </c:pt>
                <c:pt idx="2017">
                  <c:v>44753</c:v>
                </c:pt>
                <c:pt idx="2018">
                  <c:v>44754</c:v>
                </c:pt>
                <c:pt idx="2019">
                  <c:v>44755</c:v>
                </c:pt>
                <c:pt idx="2020">
                  <c:v>44756</c:v>
                </c:pt>
                <c:pt idx="2021">
                  <c:v>44757</c:v>
                </c:pt>
                <c:pt idx="2022">
                  <c:v>44758</c:v>
                </c:pt>
                <c:pt idx="2023">
                  <c:v>44759</c:v>
                </c:pt>
                <c:pt idx="2024">
                  <c:v>44760</c:v>
                </c:pt>
                <c:pt idx="2025">
                  <c:v>44761</c:v>
                </c:pt>
                <c:pt idx="2026">
                  <c:v>44762</c:v>
                </c:pt>
                <c:pt idx="2027">
                  <c:v>44763</c:v>
                </c:pt>
                <c:pt idx="2028">
                  <c:v>44764</c:v>
                </c:pt>
                <c:pt idx="2029">
                  <c:v>44765</c:v>
                </c:pt>
                <c:pt idx="2030">
                  <c:v>44766</c:v>
                </c:pt>
                <c:pt idx="2031">
                  <c:v>44767</c:v>
                </c:pt>
                <c:pt idx="2032">
                  <c:v>44768</c:v>
                </c:pt>
                <c:pt idx="2033">
                  <c:v>44769</c:v>
                </c:pt>
                <c:pt idx="2034">
                  <c:v>44770</c:v>
                </c:pt>
                <c:pt idx="2035">
                  <c:v>44771</c:v>
                </c:pt>
                <c:pt idx="2036">
                  <c:v>44772</c:v>
                </c:pt>
                <c:pt idx="2037">
                  <c:v>44773</c:v>
                </c:pt>
                <c:pt idx="2038">
                  <c:v>44774</c:v>
                </c:pt>
                <c:pt idx="2039">
                  <c:v>44775</c:v>
                </c:pt>
                <c:pt idx="2040">
                  <c:v>44776</c:v>
                </c:pt>
                <c:pt idx="2041">
                  <c:v>44777</c:v>
                </c:pt>
                <c:pt idx="2042">
                  <c:v>44778</c:v>
                </c:pt>
                <c:pt idx="2043">
                  <c:v>44779</c:v>
                </c:pt>
                <c:pt idx="2044">
                  <c:v>44780</c:v>
                </c:pt>
                <c:pt idx="2045">
                  <c:v>44781</c:v>
                </c:pt>
                <c:pt idx="2046">
                  <c:v>44782</c:v>
                </c:pt>
                <c:pt idx="2047">
                  <c:v>44783</c:v>
                </c:pt>
                <c:pt idx="2048">
                  <c:v>44784</c:v>
                </c:pt>
                <c:pt idx="2049">
                  <c:v>44785</c:v>
                </c:pt>
                <c:pt idx="2050">
                  <c:v>44786</c:v>
                </c:pt>
                <c:pt idx="2051">
                  <c:v>44787</c:v>
                </c:pt>
                <c:pt idx="2052">
                  <c:v>44788</c:v>
                </c:pt>
                <c:pt idx="2053">
                  <c:v>44789</c:v>
                </c:pt>
                <c:pt idx="2054">
                  <c:v>44790</c:v>
                </c:pt>
                <c:pt idx="2055">
                  <c:v>44791</c:v>
                </c:pt>
                <c:pt idx="2056">
                  <c:v>44792</c:v>
                </c:pt>
                <c:pt idx="2057">
                  <c:v>44793</c:v>
                </c:pt>
                <c:pt idx="2058">
                  <c:v>44794</c:v>
                </c:pt>
                <c:pt idx="2059">
                  <c:v>44795</c:v>
                </c:pt>
                <c:pt idx="2060">
                  <c:v>44796</c:v>
                </c:pt>
                <c:pt idx="2061">
                  <c:v>44797</c:v>
                </c:pt>
                <c:pt idx="2062">
                  <c:v>44798</c:v>
                </c:pt>
                <c:pt idx="2063">
                  <c:v>44799</c:v>
                </c:pt>
                <c:pt idx="2064">
                  <c:v>44800</c:v>
                </c:pt>
                <c:pt idx="2065">
                  <c:v>44801</c:v>
                </c:pt>
                <c:pt idx="2066">
                  <c:v>44802</c:v>
                </c:pt>
                <c:pt idx="2067">
                  <c:v>44803</c:v>
                </c:pt>
                <c:pt idx="2068">
                  <c:v>44804</c:v>
                </c:pt>
              </c:numCache>
            </c:numRef>
          </c:cat>
          <c:val>
            <c:numRef>
              <c:f>Hárok1!$O$5:$O$2073</c:f>
              <c:numCache>
                <c:formatCode>_(* #,##0.0_);_(* \(#,##0.0\);_(* "-"??_);_(@_)</c:formatCode>
                <c:ptCount val="2069"/>
                <c:pt idx="0">
                  <c:v>19.25</c:v>
                </c:pt>
                <c:pt idx="1">
                  <c:v>19.25</c:v>
                </c:pt>
                <c:pt idx="2">
                  <c:v>19.350000000000001</c:v>
                </c:pt>
                <c:pt idx="3">
                  <c:v>18.5</c:v>
                </c:pt>
                <c:pt idx="4">
                  <c:v>19.3</c:v>
                </c:pt>
                <c:pt idx="5">
                  <c:v>18.95</c:v>
                </c:pt>
                <c:pt idx="6">
                  <c:v>18.5</c:v>
                </c:pt>
                <c:pt idx="7">
                  <c:v>18.5</c:v>
                </c:pt>
                <c:pt idx="8">
                  <c:v>18.600000000000001</c:v>
                </c:pt>
                <c:pt idx="9">
                  <c:v>19.2</c:v>
                </c:pt>
                <c:pt idx="10">
                  <c:v>20.074999999999999</c:v>
                </c:pt>
                <c:pt idx="11">
                  <c:v>20.6</c:v>
                </c:pt>
                <c:pt idx="12">
                  <c:v>20.425000000000001</c:v>
                </c:pt>
                <c:pt idx="13">
                  <c:v>20.074999999999999</c:v>
                </c:pt>
                <c:pt idx="14">
                  <c:v>20.074999999999999</c:v>
                </c:pt>
                <c:pt idx="15">
                  <c:v>20.175000000000001</c:v>
                </c:pt>
                <c:pt idx="16">
                  <c:v>19.125</c:v>
                </c:pt>
                <c:pt idx="17">
                  <c:v>19.75</c:v>
                </c:pt>
                <c:pt idx="18">
                  <c:v>20.149999999999999</c:v>
                </c:pt>
                <c:pt idx="19">
                  <c:v>20.6</c:v>
                </c:pt>
                <c:pt idx="20">
                  <c:v>20.9</c:v>
                </c:pt>
                <c:pt idx="21">
                  <c:v>20.9</c:v>
                </c:pt>
                <c:pt idx="22">
                  <c:v>20.9</c:v>
                </c:pt>
                <c:pt idx="23">
                  <c:v>22.2</c:v>
                </c:pt>
                <c:pt idx="24">
                  <c:v>21.75</c:v>
                </c:pt>
                <c:pt idx="25">
                  <c:v>20.787500000000001</c:v>
                </c:pt>
                <c:pt idx="26">
                  <c:v>20.225000000000001</c:v>
                </c:pt>
                <c:pt idx="27">
                  <c:v>19.824999999999999</c:v>
                </c:pt>
                <c:pt idx="28">
                  <c:v>19.824999999999999</c:v>
                </c:pt>
                <c:pt idx="29">
                  <c:v>19.7</c:v>
                </c:pt>
                <c:pt idx="30">
                  <c:v>20.774999999999999</c:v>
                </c:pt>
                <c:pt idx="31">
                  <c:v>21.1</c:v>
                </c:pt>
                <c:pt idx="32">
                  <c:v>22.25</c:v>
                </c:pt>
                <c:pt idx="33">
                  <c:v>22.1</c:v>
                </c:pt>
                <c:pt idx="34">
                  <c:v>22.8</c:v>
                </c:pt>
                <c:pt idx="35">
                  <c:v>22.8</c:v>
                </c:pt>
                <c:pt idx="36">
                  <c:v>23.125</c:v>
                </c:pt>
                <c:pt idx="37">
                  <c:v>23.024999999999999</c:v>
                </c:pt>
                <c:pt idx="38">
                  <c:v>22.15</c:v>
                </c:pt>
                <c:pt idx="39">
                  <c:v>20.75</c:v>
                </c:pt>
                <c:pt idx="40">
                  <c:v>20.7</c:v>
                </c:pt>
                <c:pt idx="41">
                  <c:v>19.75</c:v>
                </c:pt>
                <c:pt idx="42">
                  <c:v>19.75</c:v>
                </c:pt>
                <c:pt idx="43">
                  <c:v>20.05</c:v>
                </c:pt>
                <c:pt idx="44">
                  <c:v>19.100000000000001</c:v>
                </c:pt>
                <c:pt idx="45">
                  <c:v>18.75</c:v>
                </c:pt>
                <c:pt idx="46">
                  <c:v>18.8</c:v>
                </c:pt>
                <c:pt idx="47">
                  <c:v>19</c:v>
                </c:pt>
                <c:pt idx="48">
                  <c:v>18.149999999999999</c:v>
                </c:pt>
                <c:pt idx="49">
                  <c:v>18.149999999999999</c:v>
                </c:pt>
                <c:pt idx="50">
                  <c:v>18.2</c:v>
                </c:pt>
                <c:pt idx="51">
                  <c:v>18.125</c:v>
                </c:pt>
                <c:pt idx="52">
                  <c:v>17.774999999999999</c:v>
                </c:pt>
                <c:pt idx="53">
                  <c:v>17.774999999999999</c:v>
                </c:pt>
                <c:pt idx="54">
                  <c:v>18.324999999999999</c:v>
                </c:pt>
                <c:pt idx="55">
                  <c:v>17.45</c:v>
                </c:pt>
                <c:pt idx="56">
                  <c:v>17.45</c:v>
                </c:pt>
                <c:pt idx="57">
                  <c:v>17.600000000000001</c:v>
                </c:pt>
                <c:pt idx="58">
                  <c:v>17.149999999999999</c:v>
                </c:pt>
                <c:pt idx="59">
                  <c:v>16.925000000000001</c:v>
                </c:pt>
                <c:pt idx="60">
                  <c:v>17.25</c:v>
                </c:pt>
                <c:pt idx="61">
                  <c:v>17</c:v>
                </c:pt>
                <c:pt idx="62">
                  <c:v>16.75</c:v>
                </c:pt>
                <c:pt idx="63">
                  <c:v>16.75</c:v>
                </c:pt>
                <c:pt idx="64">
                  <c:v>16.7</c:v>
                </c:pt>
                <c:pt idx="65">
                  <c:v>16.8</c:v>
                </c:pt>
                <c:pt idx="66">
                  <c:v>16.574999999999999</c:v>
                </c:pt>
                <c:pt idx="67">
                  <c:v>16.425000000000001</c:v>
                </c:pt>
                <c:pt idx="68">
                  <c:v>16.2</c:v>
                </c:pt>
                <c:pt idx="69">
                  <c:v>15.725</c:v>
                </c:pt>
                <c:pt idx="70">
                  <c:v>15.725</c:v>
                </c:pt>
                <c:pt idx="71">
                  <c:v>16</c:v>
                </c:pt>
                <c:pt idx="72">
                  <c:v>15.85</c:v>
                </c:pt>
                <c:pt idx="73">
                  <c:v>16</c:v>
                </c:pt>
                <c:pt idx="74">
                  <c:v>16.074999999999999</c:v>
                </c:pt>
                <c:pt idx="75">
                  <c:v>15.75</c:v>
                </c:pt>
                <c:pt idx="76">
                  <c:v>15.8</c:v>
                </c:pt>
                <c:pt idx="77">
                  <c:v>15.8</c:v>
                </c:pt>
                <c:pt idx="78">
                  <c:v>15.75</c:v>
                </c:pt>
                <c:pt idx="79">
                  <c:v>15.5</c:v>
                </c:pt>
                <c:pt idx="80">
                  <c:v>15.6</c:v>
                </c:pt>
                <c:pt idx="81">
                  <c:v>15.5</c:v>
                </c:pt>
                <c:pt idx="82">
                  <c:v>15.175000000000001</c:v>
                </c:pt>
                <c:pt idx="83">
                  <c:v>14.8</c:v>
                </c:pt>
                <c:pt idx="84">
                  <c:v>14.8</c:v>
                </c:pt>
                <c:pt idx="85">
                  <c:v>14.9</c:v>
                </c:pt>
                <c:pt idx="86">
                  <c:v>14.7</c:v>
                </c:pt>
                <c:pt idx="87">
                  <c:v>14.75</c:v>
                </c:pt>
                <c:pt idx="88">
                  <c:v>15.074999999999999</c:v>
                </c:pt>
                <c:pt idx="89">
                  <c:v>15.65</c:v>
                </c:pt>
                <c:pt idx="90">
                  <c:v>15.275</c:v>
                </c:pt>
                <c:pt idx="91">
                  <c:v>15.275</c:v>
                </c:pt>
                <c:pt idx="92">
                  <c:v>15.475</c:v>
                </c:pt>
                <c:pt idx="93">
                  <c:v>16</c:v>
                </c:pt>
                <c:pt idx="94">
                  <c:v>16.024999999999999</c:v>
                </c:pt>
                <c:pt idx="95">
                  <c:v>16.225000000000001</c:v>
                </c:pt>
                <c:pt idx="96">
                  <c:v>16.074999999999999</c:v>
                </c:pt>
                <c:pt idx="97">
                  <c:v>15.7</c:v>
                </c:pt>
                <c:pt idx="98">
                  <c:v>15.7</c:v>
                </c:pt>
                <c:pt idx="99">
                  <c:v>15.7</c:v>
                </c:pt>
                <c:pt idx="100">
                  <c:v>15.6</c:v>
                </c:pt>
                <c:pt idx="101">
                  <c:v>15.7</c:v>
                </c:pt>
                <c:pt idx="102">
                  <c:v>15.7</c:v>
                </c:pt>
                <c:pt idx="103">
                  <c:v>15.65</c:v>
                </c:pt>
                <c:pt idx="104">
                  <c:v>15.65</c:v>
                </c:pt>
                <c:pt idx="105">
                  <c:v>15.65</c:v>
                </c:pt>
                <c:pt idx="106">
                  <c:v>15.65</c:v>
                </c:pt>
                <c:pt idx="107">
                  <c:v>15.7</c:v>
                </c:pt>
                <c:pt idx="108">
                  <c:v>16.574999999999999</c:v>
                </c:pt>
                <c:pt idx="109">
                  <c:v>16.45</c:v>
                </c:pt>
                <c:pt idx="110">
                  <c:v>16.149999999999999</c:v>
                </c:pt>
                <c:pt idx="111">
                  <c:v>16.625</c:v>
                </c:pt>
                <c:pt idx="112">
                  <c:v>16.625</c:v>
                </c:pt>
                <c:pt idx="113">
                  <c:v>16.675000000000001</c:v>
                </c:pt>
                <c:pt idx="114">
                  <c:v>16.399999999999999</c:v>
                </c:pt>
                <c:pt idx="115">
                  <c:v>16.149999999999999</c:v>
                </c:pt>
                <c:pt idx="116">
                  <c:v>16.399999999999999</c:v>
                </c:pt>
                <c:pt idx="117">
                  <c:v>16.274999999999999</c:v>
                </c:pt>
                <c:pt idx="118">
                  <c:v>16.324999999999999</c:v>
                </c:pt>
                <c:pt idx="119">
                  <c:v>16.324999999999999</c:v>
                </c:pt>
                <c:pt idx="120">
                  <c:v>16.324999999999999</c:v>
                </c:pt>
                <c:pt idx="121">
                  <c:v>16.45</c:v>
                </c:pt>
                <c:pt idx="122">
                  <c:v>16.8</c:v>
                </c:pt>
                <c:pt idx="123">
                  <c:v>16.649999999999999</c:v>
                </c:pt>
                <c:pt idx="124">
                  <c:v>16.125</c:v>
                </c:pt>
                <c:pt idx="125">
                  <c:v>15.75</c:v>
                </c:pt>
                <c:pt idx="126">
                  <c:v>15.75</c:v>
                </c:pt>
                <c:pt idx="127">
                  <c:v>16.074999999999999</c:v>
                </c:pt>
                <c:pt idx="128">
                  <c:v>15.95</c:v>
                </c:pt>
                <c:pt idx="129">
                  <c:v>15.9</c:v>
                </c:pt>
                <c:pt idx="130">
                  <c:v>16.05</c:v>
                </c:pt>
                <c:pt idx="131">
                  <c:v>15.275</c:v>
                </c:pt>
                <c:pt idx="132">
                  <c:v>15.525</c:v>
                </c:pt>
                <c:pt idx="133">
                  <c:v>15.525</c:v>
                </c:pt>
                <c:pt idx="134">
                  <c:v>15.525</c:v>
                </c:pt>
                <c:pt idx="135">
                  <c:v>15.5</c:v>
                </c:pt>
                <c:pt idx="136">
                  <c:v>15.55</c:v>
                </c:pt>
                <c:pt idx="137">
                  <c:v>15.475</c:v>
                </c:pt>
                <c:pt idx="138">
                  <c:v>15.725</c:v>
                </c:pt>
                <c:pt idx="139">
                  <c:v>15.35</c:v>
                </c:pt>
                <c:pt idx="140">
                  <c:v>15.35</c:v>
                </c:pt>
                <c:pt idx="141">
                  <c:v>15.375</c:v>
                </c:pt>
                <c:pt idx="142">
                  <c:v>15.275</c:v>
                </c:pt>
                <c:pt idx="143">
                  <c:v>15.5</c:v>
                </c:pt>
                <c:pt idx="144">
                  <c:v>15.2</c:v>
                </c:pt>
                <c:pt idx="145">
                  <c:v>15</c:v>
                </c:pt>
                <c:pt idx="146">
                  <c:v>15.1</c:v>
                </c:pt>
                <c:pt idx="147">
                  <c:v>15.1</c:v>
                </c:pt>
                <c:pt idx="148">
                  <c:v>15.1</c:v>
                </c:pt>
                <c:pt idx="149">
                  <c:v>15.074999999999999</c:v>
                </c:pt>
                <c:pt idx="150">
                  <c:v>15.55</c:v>
                </c:pt>
                <c:pt idx="151">
                  <c:v>15.2</c:v>
                </c:pt>
                <c:pt idx="152">
                  <c:v>15.05</c:v>
                </c:pt>
                <c:pt idx="153">
                  <c:v>14.55</c:v>
                </c:pt>
                <c:pt idx="154">
                  <c:v>14.55</c:v>
                </c:pt>
                <c:pt idx="155">
                  <c:v>14.65</c:v>
                </c:pt>
                <c:pt idx="156">
                  <c:v>15.05</c:v>
                </c:pt>
                <c:pt idx="157">
                  <c:v>14.8</c:v>
                </c:pt>
                <c:pt idx="158">
                  <c:v>14.9625</c:v>
                </c:pt>
                <c:pt idx="159">
                  <c:v>15.15</c:v>
                </c:pt>
                <c:pt idx="160">
                  <c:v>14.925000000000001</c:v>
                </c:pt>
                <c:pt idx="161">
                  <c:v>14.925000000000001</c:v>
                </c:pt>
                <c:pt idx="162">
                  <c:v>15.175000000000001</c:v>
                </c:pt>
                <c:pt idx="163">
                  <c:v>15.074999999999999</c:v>
                </c:pt>
                <c:pt idx="164">
                  <c:v>15.175000000000001</c:v>
                </c:pt>
                <c:pt idx="165">
                  <c:v>15.225</c:v>
                </c:pt>
                <c:pt idx="166">
                  <c:v>14.775</c:v>
                </c:pt>
                <c:pt idx="167">
                  <c:v>14.824999999999999</c:v>
                </c:pt>
                <c:pt idx="168">
                  <c:v>14.824999999999999</c:v>
                </c:pt>
                <c:pt idx="169">
                  <c:v>15.125</c:v>
                </c:pt>
                <c:pt idx="170">
                  <c:v>15.425000000000001</c:v>
                </c:pt>
                <c:pt idx="171">
                  <c:v>15.375</c:v>
                </c:pt>
                <c:pt idx="172">
                  <c:v>15.324999999999999</c:v>
                </c:pt>
                <c:pt idx="173">
                  <c:v>15.225</c:v>
                </c:pt>
                <c:pt idx="174">
                  <c:v>15.025</c:v>
                </c:pt>
                <c:pt idx="175">
                  <c:v>15.025</c:v>
                </c:pt>
                <c:pt idx="176">
                  <c:v>15.05</c:v>
                </c:pt>
                <c:pt idx="177">
                  <c:v>15.275</c:v>
                </c:pt>
                <c:pt idx="178">
                  <c:v>15.35</c:v>
                </c:pt>
                <c:pt idx="179">
                  <c:v>15.324999999999999</c:v>
                </c:pt>
                <c:pt idx="180">
                  <c:v>14.975</c:v>
                </c:pt>
                <c:pt idx="181">
                  <c:v>15.3</c:v>
                </c:pt>
                <c:pt idx="182">
                  <c:v>15.3</c:v>
                </c:pt>
                <c:pt idx="183">
                  <c:v>15.324999999999999</c:v>
                </c:pt>
                <c:pt idx="184">
                  <c:v>15.425000000000001</c:v>
                </c:pt>
                <c:pt idx="185">
                  <c:v>15.35</c:v>
                </c:pt>
                <c:pt idx="186">
                  <c:v>15.45</c:v>
                </c:pt>
                <c:pt idx="187">
                  <c:v>15.275</c:v>
                </c:pt>
                <c:pt idx="188">
                  <c:v>15.1</c:v>
                </c:pt>
                <c:pt idx="189">
                  <c:v>15.1</c:v>
                </c:pt>
                <c:pt idx="190">
                  <c:v>15.074999999999999</c:v>
                </c:pt>
                <c:pt idx="191">
                  <c:v>15.1</c:v>
                </c:pt>
                <c:pt idx="192">
                  <c:v>14.75</c:v>
                </c:pt>
                <c:pt idx="193">
                  <c:v>14.824999999999999</c:v>
                </c:pt>
                <c:pt idx="194">
                  <c:v>14.975</c:v>
                </c:pt>
                <c:pt idx="195">
                  <c:v>15.025</c:v>
                </c:pt>
                <c:pt idx="196">
                  <c:v>15.025</c:v>
                </c:pt>
                <c:pt idx="197">
                  <c:v>15.05</c:v>
                </c:pt>
                <c:pt idx="198">
                  <c:v>14.975</c:v>
                </c:pt>
                <c:pt idx="199">
                  <c:v>14.975</c:v>
                </c:pt>
                <c:pt idx="200">
                  <c:v>15</c:v>
                </c:pt>
                <c:pt idx="201">
                  <c:v>15.15</c:v>
                </c:pt>
                <c:pt idx="202">
                  <c:v>14.925000000000001</c:v>
                </c:pt>
                <c:pt idx="203">
                  <c:v>14.925000000000001</c:v>
                </c:pt>
                <c:pt idx="204">
                  <c:v>15.15</c:v>
                </c:pt>
                <c:pt idx="205">
                  <c:v>15</c:v>
                </c:pt>
                <c:pt idx="206">
                  <c:v>14.975</c:v>
                </c:pt>
                <c:pt idx="207">
                  <c:v>15.4</c:v>
                </c:pt>
                <c:pt idx="208">
                  <c:v>15.175000000000001</c:v>
                </c:pt>
                <c:pt idx="209">
                  <c:v>15.025</c:v>
                </c:pt>
                <c:pt idx="210">
                  <c:v>15.025</c:v>
                </c:pt>
                <c:pt idx="211">
                  <c:v>15</c:v>
                </c:pt>
                <c:pt idx="212">
                  <c:v>15.2</c:v>
                </c:pt>
                <c:pt idx="213">
                  <c:v>14.925000000000001</c:v>
                </c:pt>
                <c:pt idx="214">
                  <c:v>14.95</c:v>
                </c:pt>
                <c:pt idx="215">
                  <c:v>15.025</c:v>
                </c:pt>
                <c:pt idx="216">
                  <c:v>15.05</c:v>
                </c:pt>
                <c:pt idx="217">
                  <c:v>15.05</c:v>
                </c:pt>
                <c:pt idx="218">
                  <c:v>15.175000000000001</c:v>
                </c:pt>
                <c:pt idx="219">
                  <c:v>15.525</c:v>
                </c:pt>
                <c:pt idx="220">
                  <c:v>15.425000000000001</c:v>
                </c:pt>
                <c:pt idx="221">
                  <c:v>15.95</c:v>
                </c:pt>
                <c:pt idx="222">
                  <c:v>16.149999999999999</c:v>
                </c:pt>
                <c:pt idx="223">
                  <c:v>16.225000000000001</c:v>
                </c:pt>
                <c:pt idx="224">
                  <c:v>16.225000000000001</c:v>
                </c:pt>
                <c:pt idx="225">
                  <c:v>16.225000000000001</c:v>
                </c:pt>
                <c:pt idx="226">
                  <c:v>15.9</c:v>
                </c:pt>
                <c:pt idx="227">
                  <c:v>15.85</c:v>
                </c:pt>
                <c:pt idx="228">
                  <c:v>16.149999999999999</c:v>
                </c:pt>
                <c:pt idx="229">
                  <c:v>16.2</c:v>
                </c:pt>
                <c:pt idx="230">
                  <c:v>16.3</c:v>
                </c:pt>
                <c:pt idx="231">
                  <c:v>16.3</c:v>
                </c:pt>
                <c:pt idx="232">
                  <c:v>16.375</c:v>
                </c:pt>
                <c:pt idx="233">
                  <c:v>16.350000000000001</c:v>
                </c:pt>
                <c:pt idx="234">
                  <c:v>16.3</c:v>
                </c:pt>
                <c:pt idx="235">
                  <c:v>16.675000000000001</c:v>
                </c:pt>
                <c:pt idx="236">
                  <c:v>16.324999999999999</c:v>
                </c:pt>
                <c:pt idx="237">
                  <c:v>16.25</c:v>
                </c:pt>
                <c:pt idx="238">
                  <c:v>16.25</c:v>
                </c:pt>
                <c:pt idx="239">
                  <c:v>16.25</c:v>
                </c:pt>
                <c:pt idx="240">
                  <c:v>16.5</c:v>
                </c:pt>
                <c:pt idx="241">
                  <c:v>16.625</c:v>
                </c:pt>
                <c:pt idx="242">
                  <c:v>16.824999999999999</c:v>
                </c:pt>
                <c:pt idx="243">
                  <c:v>16.375</c:v>
                </c:pt>
                <c:pt idx="244">
                  <c:v>16.3</c:v>
                </c:pt>
                <c:pt idx="245">
                  <c:v>16.3</c:v>
                </c:pt>
                <c:pt idx="246">
                  <c:v>16.45</c:v>
                </c:pt>
                <c:pt idx="247">
                  <c:v>16.5</c:v>
                </c:pt>
                <c:pt idx="248">
                  <c:v>16.95</c:v>
                </c:pt>
                <c:pt idx="249">
                  <c:v>16.95</c:v>
                </c:pt>
                <c:pt idx="250">
                  <c:v>16.824999999999999</c:v>
                </c:pt>
                <c:pt idx="251">
                  <c:v>16.7</c:v>
                </c:pt>
                <c:pt idx="252">
                  <c:v>16.7</c:v>
                </c:pt>
                <c:pt idx="253">
                  <c:v>17.074999999999999</c:v>
                </c:pt>
                <c:pt idx="254">
                  <c:v>17.3</c:v>
                </c:pt>
                <c:pt idx="255">
                  <c:v>17.3</c:v>
                </c:pt>
                <c:pt idx="256">
                  <c:v>17.55</c:v>
                </c:pt>
                <c:pt idx="257">
                  <c:v>17.975000000000001</c:v>
                </c:pt>
                <c:pt idx="258">
                  <c:v>17.7</c:v>
                </c:pt>
                <c:pt idx="259">
                  <c:v>17.7</c:v>
                </c:pt>
                <c:pt idx="260">
                  <c:v>17.850000000000001</c:v>
                </c:pt>
                <c:pt idx="261">
                  <c:v>18</c:v>
                </c:pt>
                <c:pt idx="262">
                  <c:v>17.675000000000001</c:v>
                </c:pt>
                <c:pt idx="263">
                  <c:v>17.5</c:v>
                </c:pt>
                <c:pt idx="264">
                  <c:v>17.324999999999999</c:v>
                </c:pt>
                <c:pt idx="265">
                  <c:v>17.100000000000001</c:v>
                </c:pt>
                <c:pt idx="266">
                  <c:v>17.100000000000001</c:v>
                </c:pt>
                <c:pt idx="267">
                  <c:v>17.225000000000001</c:v>
                </c:pt>
                <c:pt idx="268">
                  <c:v>17.824999999999999</c:v>
                </c:pt>
                <c:pt idx="269">
                  <c:v>17.875</c:v>
                </c:pt>
                <c:pt idx="270">
                  <c:v>17.625</c:v>
                </c:pt>
                <c:pt idx="271">
                  <c:v>17.675000000000001</c:v>
                </c:pt>
                <c:pt idx="272">
                  <c:v>16.149999999999999</c:v>
                </c:pt>
                <c:pt idx="273">
                  <c:v>16.149999999999999</c:v>
                </c:pt>
                <c:pt idx="274">
                  <c:v>16.350000000000001</c:v>
                </c:pt>
                <c:pt idx="275">
                  <c:v>16.55</c:v>
                </c:pt>
                <c:pt idx="276">
                  <c:v>17.399999999999999</c:v>
                </c:pt>
                <c:pt idx="277">
                  <c:v>17.350000000000001</c:v>
                </c:pt>
                <c:pt idx="278">
                  <c:v>17.850000000000001</c:v>
                </c:pt>
                <c:pt idx="279">
                  <c:v>17.7</c:v>
                </c:pt>
                <c:pt idx="280">
                  <c:v>17.7</c:v>
                </c:pt>
                <c:pt idx="281">
                  <c:v>17.725000000000001</c:v>
                </c:pt>
                <c:pt idx="282">
                  <c:v>17.975000000000001</c:v>
                </c:pt>
                <c:pt idx="283">
                  <c:v>17.600000000000001</c:v>
                </c:pt>
                <c:pt idx="284">
                  <c:v>17.225000000000001</c:v>
                </c:pt>
                <c:pt idx="285">
                  <c:v>16.899999999999999</c:v>
                </c:pt>
                <c:pt idx="286">
                  <c:v>16.649999999999999</c:v>
                </c:pt>
                <c:pt idx="287">
                  <c:v>16.649999999999999</c:v>
                </c:pt>
                <c:pt idx="288">
                  <c:v>16.625</c:v>
                </c:pt>
                <c:pt idx="289">
                  <c:v>16.274999999999999</c:v>
                </c:pt>
                <c:pt idx="290">
                  <c:v>16.975000000000001</c:v>
                </c:pt>
                <c:pt idx="291">
                  <c:v>16.8</c:v>
                </c:pt>
                <c:pt idx="292">
                  <c:v>16.5</c:v>
                </c:pt>
                <c:pt idx="293">
                  <c:v>15.975</c:v>
                </c:pt>
                <c:pt idx="294">
                  <c:v>15.975</c:v>
                </c:pt>
                <c:pt idx="295">
                  <c:v>16.324999999999999</c:v>
                </c:pt>
                <c:pt idx="296">
                  <c:v>16.850000000000001</c:v>
                </c:pt>
                <c:pt idx="297">
                  <c:v>16.7</c:v>
                </c:pt>
                <c:pt idx="298">
                  <c:v>16.975000000000001</c:v>
                </c:pt>
                <c:pt idx="299">
                  <c:v>17</c:v>
                </c:pt>
                <c:pt idx="300">
                  <c:v>16.5</c:v>
                </c:pt>
                <c:pt idx="301">
                  <c:v>16.5</c:v>
                </c:pt>
                <c:pt idx="302">
                  <c:v>17.074999999999999</c:v>
                </c:pt>
                <c:pt idx="303">
                  <c:v>18</c:v>
                </c:pt>
                <c:pt idx="304">
                  <c:v>17.899999999999999</c:v>
                </c:pt>
                <c:pt idx="305">
                  <c:v>18.425000000000001</c:v>
                </c:pt>
                <c:pt idx="306">
                  <c:v>18.024999999999999</c:v>
                </c:pt>
                <c:pt idx="307">
                  <c:v>18.100000000000001</c:v>
                </c:pt>
                <c:pt idx="308">
                  <c:v>18.100000000000001</c:v>
                </c:pt>
                <c:pt idx="309">
                  <c:v>18.25</c:v>
                </c:pt>
                <c:pt idx="310">
                  <c:v>18.975000000000001</c:v>
                </c:pt>
                <c:pt idx="311">
                  <c:v>19.3</c:v>
                </c:pt>
                <c:pt idx="312">
                  <c:v>19.3</c:v>
                </c:pt>
                <c:pt idx="313">
                  <c:v>19.375</c:v>
                </c:pt>
                <c:pt idx="314">
                  <c:v>19.7</c:v>
                </c:pt>
                <c:pt idx="315">
                  <c:v>19.7</c:v>
                </c:pt>
                <c:pt idx="316">
                  <c:v>19.8</c:v>
                </c:pt>
                <c:pt idx="317">
                  <c:v>19.95</c:v>
                </c:pt>
                <c:pt idx="318">
                  <c:v>19.350000000000001</c:v>
                </c:pt>
                <c:pt idx="319">
                  <c:v>19.100000000000001</c:v>
                </c:pt>
                <c:pt idx="320">
                  <c:v>19.175000000000001</c:v>
                </c:pt>
                <c:pt idx="321">
                  <c:v>19.100000000000001</c:v>
                </c:pt>
                <c:pt idx="322">
                  <c:v>19.100000000000001</c:v>
                </c:pt>
                <c:pt idx="323">
                  <c:v>19.05</c:v>
                </c:pt>
                <c:pt idx="324">
                  <c:v>19.574999999999999</c:v>
                </c:pt>
                <c:pt idx="325">
                  <c:v>19.7</c:v>
                </c:pt>
                <c:pt idx="326">
                  <c:v>19.625</c:v>
                </c:pt>
                <c:pt idx="327">
                  <c:v>20.2</c:v>
                </c:pt>
                <c:pt idx="328">
                  <c:v>20.475000000000001</c:v>
                </c:pt>
                <c:pt idx="329">
                  <c:v>20.475000000000001</c:v>
                </c:pt>
                <c:pt idx="330">
                  <c:v>20.55</c:v>
                </c:pt>
                <c:pt idx="331">
                  <c:v>20.95</c:v>
                </c:pt>
                <c:pt idx="332">
                  <c:v>20.7</c:v>
                </c:pt>
                <c:pt idx="333">
                  <c:v>20.875</c:v>
                </c:pt>
                <c:pt idx="334">
                  <c:v>20.85</c:v>
                </c:pt>
                <c:pt idx="335">
                  <c:v>21.024999999999999</c:v>
                </c:pt>
                <c:pt idx="336">
                  <c:v>21.024999999999999</c:v>
                </c:pt>
                <c:pt idx="337">
                  <c:v>20.9</c:v>
                </c:pt>
                <c:pt idx="338">
                  <c:v>21.625</c:v>
                </c:pt>
                <c:pt idx="339">
                  <c:v>21.425000000000001</c:v>
                </c:pt>
                <c:pt idx="340">
                  <c:v>21.175000000000001</c:v>
                </c:pt>
                <c:pt idx="341">
                  <c:v>21.4</c:v>
                </c:pt>
                <c:pt idx="342">
                  <c:v>21</c:v>
                </c:pt>
                <c:pt idx="343">
                  <c:v>21</c:v>
                </c:pt>
                <c:pt idx="344">
                  <c:v>21</c:v>
                </c:pt>
                <c:pt idx="345">
                  <c:v>21.9</c:v>
                </c:pt>
                <c:pt idx="346">
                  <c:v>22.25</c:v>
                </c:pt>
                <c:pt idx="347">
                  <c:v>21.5</c:v>
                </c:pt>
                <c:pt idx="348">
                  <c:v>21.725000000000001</c:v>
                </c:pt>
                <c:pt idx="349">
                  <c:v>21.6</c:v>
                </c:pt>
                <c:pt idx="350">
                  <c:v>21.6</c:v>
                </c:pt>
                <c:pt idx="351">
                  <c:v>21.6</c:v>
                </c:pt>
                <c:pt idx="352">
                  <c:v>21.2</c:v>
                </c:pt>
                <c:pt idx="353">
                  <c:v>20.175000000000001</c:v>
                </c:pt>
                <c:pt idx="354">
                  <c:v>20.324999999999999</c:v>
                </c:pt>
                <c:pt idx="355">
                  <c:v>20.274999999999999</c:v>
                </c:pt>
                <c:pt idx="356">
                  <c:v>19.675000000000001</c:v>
                </c:pt>
                <c:pt idx="357">
                  <c:v>19.675000000000001</c:v>
                </c:pt>
                <c:pt idx="358">
                  <c:v>19.675000000000001</c:v>
                </c:pt>
                <c:pt idx="359">
                  <c:v>19.675000000000001</c:v>
                </c:pt>
                <c:pt idx="360">
                  <c:v>19.850000000000001</c:v>
                </c:pt>
                <c:pt idx="361">
                  <c:v>19.899999999999999</c:v>
                </c:pt>
                <c:pt idx="362">
                  <c:v>19.899999999999999</c:v>
                </c:pt>
                <c:pt idx="363">
                  <c:v>19.2</c:v>
                </c:pt>
                <c:pt idx="364">
                  <c:v>19.2</c:v>
                </c:pt>
                <c:pt idx="365">
                  <c:v>19.2</c:v>
                </c:pt>
                <c:pt idx="366">
                  <c:v>19.524999999999999</c:v>
                </c:pt>
                <c:pt idx="367">
                  <c:v>19.225000000000001</c:v>
                </c:pt>
                <c:pt idx="368">
                  <c:v>19</c:v>
                </c:pt>
                <c:pt idx="369">
                  <c:v>19.2</c:v>
                </c:pt>
                <c:pt idx="370">
                  <c:v>18.824999999999999</c:v>
                </c:pt>
                <c:pt idx="371">
                  <c:v>18.824999999999999</c:v>
                </c:pt>
                <c:pt idx="372">
                  <c:v>18.899999999999999</c:v>
                </c:pt>
                <c:pt idx="373">
                  <c:v>19</c:v>
                </c:pt>
                <c:pt idx="374">
                  <c:v>19.45</c:v>
                </c:pt>
                <c:pt idx="375">
                  <c:v>19.399999999999999</c:v>
                </c:pt>
                <c:pt idx="376">
                  <c:v>19.274999999999999</c:v>
                </c:pt>
                <c:pt idx="377">
                  <c:v>19.625</c:v>
                </c:pt>
                <c:pt idx="378">
                  <c:v>19.625</c:v>
                </c:pt>
                <c:pt idx="379">
                  <c:v>19.675000000000001</c:v>
                </c:pt>
                <c:pt idx="380">
                  <c:v>19.100000000000001</c:v>
                </c:pt>
                <c:pt idx="381">
                  <c:v>18.8</c:v>
                </c:pt>
                <c:pt idx="382">
                  <c:v>18.45</c:v>
                </c:pt>
                <c:pt idx="383">
                  <c:v>18.7</c:v>
                </c:pt>
                <c:pt idx="384">
                  <c:v>18.274999999999999</c:v>
                </c:pt>
                <c:pt idx="385">
                  <c:v>18.274999999999999</c:v>
                </c:pt>
                <c:pt idx="386">
                  <c:v>18.225000000000001</c:v>
                </c:pt>
                <c:pt idx="387">
                  <c:v>18.399999999999999</c:v>
                </c:pt>
                <c:pt idx="388">
                  <c:v>18.05</c:v>
                </c:pt>
                <c:pt idx="389">
                  <c:v>17.824999999999999</c:v>
                </c:pt>
                <c:pt idx="390">
                  <c:v>17.824999999999999</c:v>
                </c:pt>
                <c:pt idx="391">
                  <c:v>17.350000000000001</c:v>
                </c:pt>
                <c:pt idx="392">
                  <c:v>17.350000000000001</c:v>
                </c:pt>
                <c:pt idx="393">
                  <c:v>17.375</c:v>
                </c:pt>
                <c:pt idx="394">
                  <c:v>17.375</c:v>
                </c:pt>
                <c:pt idx="395">
                  <c:v>17.375</c:v>
                </c:pt>
                <c:pt idx="396">
                  <c:v>17.875</c:v>
                </c:pt>
                <c:pt idx="397">
                  <c:v>18.125</c:v>
                </c:pt>
                <c:pt idx="398">
                  <c:v>18.024999999999999</c:v>
                </c:pt>
                <c:pt idx="399">
                  <c:v>18.024999999999999</c:v>
                </c:pt>
                <c:pt idx="400">
                  <c:v>18.100000000000001</c:v>
                </c:pt>
                <c:pt idx="401">
                  <c:v>17.725000000000001</c:v>
                </c:pt>
                <c:pt idx="402">
                  <c:v>17.975000000000001</c:v>
                </c:pt>
                <c:pt idx="403">
                  <c:v>18.350000000000001</c:v>
                </c:pt>
                <c:pt idx="404">
                  <c:v>17.975000000000001</c:v>
                </c:pt>
                <c:pt idx="405">
                  <c:v>17.824999999999999</c:v>
                </c:pt>
                <c:pt idx="406">
                  <c:v>17.824999999999999</c:v>
                </c:pt>
                <c:pt idx="407">
                  <c:v>17.824999999999999</c:v>
                </c:pt>
                <c:pt idx="408">
                  <c:v>18.024999999999999</c:v>
                </c:pt>
                <c:pt idx="409">
                  <c:v>18.425000000000001</c:v>
                </c:pt>
                <c:pt idx="410">
                  <c:v>18.175000000000001</c:v>
                </c:pt>
                <c:pt idx="411">
                  <c:v>17.95</c:v>
                </c:pt>
                <c:pt idx="412">
                  <c:v>18.2</c:v>
                </c:pt>
                <c:pt idx="413">
                  <c:v>18.2</c:v>
                </c:pt>
                <c:pt idx="414">
                  <c:v>18.225000000000001</c:v>
                </c:pt>
                <c:pt idx="415">
                  <c:v>19.574999999999999</c:v>
                </c:pt>
                <c:pt idx="416">
                  <c:v>20.8</c:v>
                </c:pt>
                <c:pt idx="417">
                  <c:v>22</c:v>
                </c:pt>
                <c:pt idx="418">
                  <c:v>22.75</c:v>
                </c:pt>
                <c:pt idx="419">
                  <c:v>23.85</c:v>
                </c:pt>
                <c:pt idx="420">
                  <c:v>23.85</c:v>
                </c:pt>
                <c:pt idx="421">
                  <c:v>26.1</c:v>
                </c:pt>
                <c:pt idx="422">
                  <c:v>25.2</c:v>
                </c:pt>
                <c:pt idx="423">
                  <c:v>34.5</c:v>
                </c:pt>
                <c:pt idx="424">
                  <c:v>44</c:v>
                </c:pt>
                <c:pt idx="425">
                  <c:v>85</c:v>
                </c:pt>
                <c:pt idx="426">
                  <c:v>33</c:v>
                </c:pt>
                <c:pt idx="427">
                  <c:v>33</c:v>
                </c:pt>
                <c:pt idx="428">
                  <c:v>30.975000000000001</c:v>
                </c:pt>
                <c:pt idx="429">
                  <c:v>20.2</c:v>
                </c:pt>
                <c:pt idx="430">
                  <c:v>19.600000000000001</c:v>
                </c:pt>
                <c:pt idx="431">
                  <c:v>18.7</c:v>
                </c:pt>
                <c:pt idx="432">
                  <c:v>19.2</c:v>
                </c:pt>
                <c:pt idx="433">
                  <c:v>19.875</c:v>
                </c:pt>
                <c:pt idx="434">
                  <c:v>19.875</c:v>
                </c:pt>
                <c:pt idx="435">
                  <c:v>19.95</c:v>
                </c:pt>
                <c:pt idx="436">
                  <c:v>25.774999999999999</c:v>
                </c:pt>
                <c:pt idx="437">
                  <c:v>24.95</c:v>
                </c:pt>
                <c:pt idx="438">
                  <c:v>22.6</c:v>
                </c:pt>
                <c:pt idx="439">
                  <c:v>24.5</c:v>
                </c:pt>
                <c:pt idx="440">
                  <c:v>19.75</c:v>
                </c:pt>
                <c:pt idx="441">
                  <c:v>19.75</c:v>
                </c:pt>
                <c:pt idx="442">
                  <c:v>20.45</c:v>
                </c:pt>
                <c:pt idx="443">
                  <c:v>20.524999999999999</c:v>
                </c:pt>
                <c:pt idx="444">
                  <c:v>21.4</c:v>
                </c:pt>
                <c:pt idx="445">
                  <c:v>21.8</c:v>
                </c:pt>
                <c:pt idx="446">
                  <c:v>20.45</c:v>
                </c:pt>
                <c:pt idx="447">
                  <c:v>19.45</c:v>
                </c:pt>
                <c:pt idx="448">
                  <c:v>19.45</c:v>
                </c:pt>
                <c:pt idx="449">
                  <c:v>19.649999999999999</c:v>
                </c:pt>
                <c:pt idx="450">
                  <c:v>18.399999999999999</c:v>
                </c:pt>
                <c:pt idx="451">
                  <c:v>18.7</c:v>
                </c:pt>
                <c:pt idx="452">
                  <c:v>18.524999999999999</c:v>
                </c:pt>
                <c:pt idx="453">
                  <c:v>19.425000000000001</c:v>
                </c:pt>
                <c:pt idx="454">
                  <c:v>19.425000000000001</c:v>
                </c:pt>
                <c:pt idx="455">
                  <c:v>19.425000000000001</c:v>
                </c:pt>
                <c:pt idx="456">
                  <c:v>19.425000000000001</c:v>
                </c:pt>
                <c:pt idx="457">
                  <c:v>19.5</c:v>
                </c:pt>
                <c:pt idx="458">
                  <c:v>18.8</c:v>
                </c:pt>
                <c:pt idx="459">
                  <c:v>19.149999999999999</c:v>
                </c:pt>
                <c:pt idx="460">
                  <c:v>19</c:v>
                </c:pt>
                <c:pt idx="461">
                  <c:v>19.100000000000001</c:v>
                </c:pt>
                <c:pt idx="462">
                  <c:v>19.100000000000001</c:v>
                </c:pt>
                <c:pt idx="463">
                  <c:v>18.824999999999999</c:v>
                </c:pt>
                <c:pt idx="464">
                  <c:v>18.95</c:v>
                </c:pt>
                <c:pt idx="465">
                  <c:v>20.350000000000001</c:v>
                </c:pt>
                <c:pt idx="466">
                  <c:v>19.600000000000001</c:v>
                </c:pt>
                <c:pt idx="467">
                  <c:v>20.475000000000001</c:v>
                </c:pt>
                <c:pt idx="468">
                  <c:v>20.225000000000001</c:v>
                </c:pt>
                <c:pt idx="469">
                  <c:v>20.225000000000001</c:v>
                </c:pt>
                <c:pt idx="470">
                  <c:v>20.225000000000001</c:v>
                </c:pt>
                <c:pt idx="471">
                  <c:v>19.774999999999999</c:v>
                </c:pt>
                <c:pt idx="472">
                  <c:v>19.100000000000001</c:v>
                </c:pt>
                <c:pt idx="473">
                  <c:v>19.2</c:v>
                </c:pt>
                <c:pt idx="474">
                  <c:v>20</c:v>
                </c:pt>
                <c:pt idx="475">
                  <c:v>20.024999999999999</c:v>
                </c:pt>
                <c:pt idx="476">
                  <c:v>20.024999999999999</c:v>
                </c:pt>
                <c:pt idx="477">
                  <c:v>19.95</c:v>
                </c:pt>
                <c:pt idx="478">
                  <c:v>19.8</c:v>
                </c:pt>
                <c:pt idx="479">
                  <c:v>19.675000000000001</c:v>
                </c:pt>
                <c:pt idx="480">
                  <c:v>19.899999999999999</c:v>
                </c:pt>
                <c:pt idx="481">
                  <c:v>20.2</c:v>
                </c:pt>
                <c:pt idx="482">
                  <c:v>20.274999999999999</c:v>
                </c:pt>
                <c:pt idx="483">
                  <c:v>20.274999999999999</c:v>
                </c:pt>
                <c:pt idx="484">
                  <c:v>20.274999999999999</c:v>
                </c:pt>
                <c:pt idx="485">
                  <c:v>20.85</c:v>
                </c:pt>
                <c:pt idx="486">
                  <c:v>20.225000000000001</c:v>
                </c:pt>
                <c:pt idx="487">
                  <c:v>20.3</c:v>
                </c:pt>
                <c:pt idx="488">
                  <c:v>20.125</c:v>
                </c:pt>
                <c:pt idx="489">
                  <c:v>20.6</c:v>
                </c:pt>
                <c:pt idx="490">
                  <c:v>20.6</c:v>
                </c:pt>
                <c:pt idx="491">
                  <c:v>20.6</c:v>
                </c:pt>
                <c:pt idx="492">
                  <c:v>20.425000000000001</c:v>
                </c:pt>
                <c:pt idx="493">
                  <c:v>20.5</c:v>
                </c:pt>
                <c:pt idx="494">
                  <c:v>20.75</c:v>
                </c:pt>
                <c:pt idx="495">
                  <c:v>21.024999999999999</c:v>
                </c:pt>
                <c:pt idx="496">
                  <c:v>21.15</c:v>
                </c:pt>
                <c:pt idx="497">
                  <c:v>21.15</c:v>
                </c:pt>
                <c:pt idx="498">
                  <c:v>21.225000000000001</c:v>
                </c:pt>
                <c:pt idx="499">
                  <c:v>21.55</c:v>
                </c:pt>
                <c:pt idx="500">
                  <c:v>21.524999999999999</c:v>
                </c:pt>
                <c:pt idx="501">
                  <c:v>21.725000000000001</c:v>
                </c:pt>
                <c:pt idx="502">
                  <c:v>22.3</c:v>
                </c:pt>
                <c:pt idx="503">
                  <c:v>22.074999999999999</c:v>
                </c:pt>
                <c:pt idx="504">
                  <c:v>22.074999999999999</c:v>
                </c:pt>
                <c:pt idx="505">
                  <c:v>22.024999999999999</c:v>
                </c:pt>
                <c:pt idx="506">
                  <c:v>22.2</c:v>
                </c:pt>
                <c:pt idx="507">
                  <c:v>22.875</c:v>
                </c:pt>
                <c:pt idx="508">
                  <c:v>22.925000000000001</c:v>
                </c:pt>
                <c:pt idx="509">
                  <c:v>22.824999999999999</c:v>
                </c:pt>
                <c:pt idx="510">
                  <c:v>21.7</c:v>
                </c:pt>
                <c:pt idx="511">
                  <c:v>21.7</c:v>
                </c:pt>
                <c:pt idx="512">
                  <c:v>21.7</c:v>
                </c:pt>
                <c:pt idx="513">
                  <c:v>21.774999999999999</c:v>
                </c:pt>
                <c:pt idx="514">
                  <c:v>22.574999999999999</c:v>
                </c:pt>
                <c:pt idx="515">
                  <c:v>22.85</c:v>
                </c:pt>
                <c:pt idx="516">
                  <c:v>22.475000000000001</c:v>
                </c:pt>
                <c:pt idx="517">
                  <c:v>21.85</c:v>
                </c:pt>
                <c:pt idx="518">
                  <c:v>21.85</c:v>
                </c:pt>
                <c:pt idx="519">
                  <c:v>21.875</c:v>
                </c:pt>
                <c:pt idx="520">
                  <c:v>22.225000000000001</c:v>
                </c:pt>
                <c:pt idx="521">
                  <c:v>21.824999999999999</c:v>
                </c:pt>
                <c:pt idx="522">
                  <c:v>21.574999999999999</c:v>
                </c:pt>
                <c:pt idx="523">
                  <c:v>21.75</c:v>
                </c:pt>
                <c:pt idx="524">
                  <c:v>21.65</c:v>
                </c:pt>
                <c:pt idx="525">
                  <c:v>21.65</c:v>
                </c:pt>
                <c:pt idx="526">
                  <c:v>21.675000000000001</c:v>
                </c:pt>
                <c:pt idx="527">
                  <c:v>21.65</c:v>
                </c:pt>
                <c:pt idx="528">
                  <c:v>21.95</c:v>
                </c:pt>
                <c:pt idx="529">
                  <c:v>22.5</c:v>
                </c:pt>
                <c:pt idx="530">
                  <c:v>22.875</c:v>
                </c:pt>
                <c:pt idx="531">
                  <c:v>22</c:v>
                </c:pt>
                <c:pt idx="532">
                  <c:v>22</c:v>
                </c:pt>
                <c:pt idx="533">
                  <c:v>21.975000000000001</c:v>
                </c:pt>
                <c:pt idx="534">
                  <c:v>22.6</c:v>
                </c:pt>
                <c:pt idx="535">
                  <c:v>22.2</c:v>
                </c:pt>
                <c:pt idx="536">
                  <c:v>22</c:v>
                </c:pt>
                <c:pt idx="537">
                  <c:v>21.75</c:v>
                </c:pt>
                <c:pt idx="538">
                  <c:v>21.675000000000001</c:v>
                </c:pt>
                <c:pt idx="539">
                  <c:v>21.675000000000001</c:v>
                </c:pt>
                <c:pt idx="540">
                  <c:v>21.7</c:v>
                </c:pt>
                <c:pt idx="541">
                  <c:v>21.7</c:v>
                </c:pt>
                <c:pt idx="542">
                  <c:v>21.574999999999999</c:v>
                </c:pt>
                <c:pt idx="543">
                  <c:v>22.1</c:v>
                </c:pt>
                <c:pt idx="544">
                  <c:v>21.925000000000001</c:v>
                </c:pt>
                <c:pt idx="545">
                  <c:v>21.975000000000001</c:v>
                </c:pt>
                <c:pt idx="546">
                  <c:v>21.975000000000001</c:v>
                </c:pt>
                <c:pt idx="547">
                  <c:v>21.9</c:v>
                </c:pt>
                <c:pt idx="548">
                  <c:v>22.15</c:v>
                </c:pt>
                <c:pt idx="549">
                  <c:v>22.3</c:v>
                </c:pt>
                <c:pt idx="550">
                  <c:v>22.3</c:v>
                </c:pt>
                <c:pt idx="551">
                  <c:v>22.324999999999999</c:v>
                </c:pt>
                <c:pt idx="552">
                  <c:v>22.2</c:v>
                </c:pt>
                <c:pt idx="553">
                  <c:v>22.2</c:v>
                </c:pt>
                <c:pt idx="554">
                  <c:v>22.274999999999999</c:v>
                </c:pt>
                <c:pt idx="555">
                  <c:v>22.725000000000001</c:v>
                </c:pt>
                <c:pt idx="556">
                  <c:v>22.8</c:v>
                </c:pt>
                <c:pt idx="557">
                  <c:v>22.475000000000001</c:v>
                </c:pt>
                <c:pt idx="558">
                  <c:v>21.95</c:v>
                </c:pt>
                <c:pt idx="559">
                  <c:v>22.274999999999999</c:v>
                </c:pt>
                <c:pt idx="560">
                  <c:v>22.274999999999999</c:v>
                </c:pt>
                <c:pt idx="561">
                  <c:v>22.425000000000001</c:v>
                </c:pt>
                <c:pt idx="562">
                  <c:v>22.074999999999999</c:v>
                </c:pt>
                <c:pt idx="563">
                  <c:v>21.925000000000001</c:v>
                </c:pt>
                <c:pt idx="564">
                  <c:v>22.2</c:v>
                </c:pt>
                <c:pt idx="565">
                  <c:v>22.15</c:v>
                </c:pt>
                <c:pt idx="566">
                  <c:v>21.925000000000001</c:v>
                </c:pt>
                <c:pt idx="567">
                  <c:v>21.925000000000001</c:v>
                </c:pt>
                <c:pt idx="568">
                  <c:v>21.9</c:v>
                </c:pt>
                <c:pt idx="569">
                  <c:v>22.225000000000001</c:v>
                </c:pt>
                <c:pt idx="570">
                  <c:v>22.175000000000001</c:v>
                </c:pt>
                <c:pt idx="571">
                  <c:v>22.225000000000001</c:v>
                </c:pt>
                <c:pt idx="572">
                  <c:v>22.25</c:v>
                </c:pt>
                <c:pt idx="573">
                  <c:v>21.95</c:v>
                </c:pt>
                <c:pt idx="574">
                  <c:v>21.95</c:v>
                </c:pt>
                <c:pt idx="575">
                  <c:v>22.05</c:v>
                </c:pt>
                <c:pt idx="576">
                  <c:v>22.3</c:v>
                </c:pt>
                <c:pt idx="577">
                  <c:v>22.15</c:v>
                </c:pt>
                <c:pt idx="578">
                  <c:v>22</c:v>
                </c:pt>
                <c:pt idx="579">
                  <c:v>22.074999999999999</c:v>
                </c:pt>
                <c:pt idx="580">
                  <c:v>22.225000000000001</c:v>
                </c:pt>
                <c:pt idx="581">
                  <c:v>22.225000000000001</c:v>
                </c:pt>
                <c:pt idx="582">
                  <c:v>22.3</c:v>
                </c:pt>
                <c:pt idx="583">
                  <c:v>22.475000000000001</c:v>
                </c:pt>
                <c:pt idx="584">
                  <c:v>22.65</c:v>
                </c:pt>
                <c:pt idx="585">
                  <c:v>22.65</c:v>
                </c:pt>
                <c:pt idx="586">
                  <c:v>22.574999999999999</c:v>
                </c:pt>
                <c:pt idx="587">
                  <c:v>22.774999999999999</c:v>
                </c:pt>
                <c:pt idx="588">
                  <c:v>22.774999999999999</c:v>
                </c:pt>
                <c:pt idx="589">
                  <c:v>22.85</c:v>
                </c:pt>
                <c:pt idx="590">
                  <c:v>23.774999999999999</c:v>
                </c:pt>
                <c:pt idx="591">
                  <c:v>23.5</c:v>
                </c:pt>
                <c:pt idx="592">
                  <c:v>23.35</c:v>
                </c:pt>
                <c:pt idx="593">
                  <c:v>23.7</c:v>
                </c:pt>
                <c:pt idx="594">
                  <c:v>24</c:v>
                </c:pt>
                <c:pt idx="595">
                  <c:v>24</c:v>
                </c:pt>
                <c:pt idx="596">
                  <c:v>24.1</c:v>
                </c:pt>
                <c:pt idx="597">
                  <c:v>24.225000000000001</c:v>
                </c:pt>
                <c:pt idx="598">
                  <c:v>24.25</c:v>
                </c:pt>
                <c:pt idx="599">
                  <c:v>24.7</c:v>
                </c:pt>
                <c:pt idx="600">
                  <c:v>24.9</c:v>
                </c:pt>
                <c:pt idx="601">
                  <c:v>24.774999999999999</c:v>
                </c:pt>
                <c:pt idx="602">
                  <c:v>24.774999999999999</c:v>
                </c:pt>
                <c:pt idx="603">
                  <c:v>24.774999999999999</c:v>
                </c:pt>
                <c:pt idx="604">
                  <c:v>25.15</c:v>
                </c:pt>
                <c:pt idx="605">
                  <c:v>25.875</c:v>
                </c:pt>
                <c:pt idx="606">
                  <c:v>26.4</c:v>
                </c:pt>
                <c:pt idx="607">
                  <c:v>26.274999999999999</c:v>
                </c:pt>
                <c:pt idx="608">
                  <c:v>25.824999999999999</c:v>
                </c:pt>
                <c:pt idx="609">
                  <c:v>25.824999999999999</c:v>
                </c:pt>
                <c:pt idx="610">
                  <c:v>25.875</c:v>
                </c:pt>
                <c:pt idx="611">
                  <c:v>26.45</c:v>
                </c:pt>
                <c:pt idx="612">
                  <c:v>26.774999999999999</c:v>
                </c:pt>
                <c:pt idx="613">
                  <c:v>27.225000000000001</c:v>
                </c:pt>
                <c:pt idx="614">
                  <c:v>27.625</c:v>
                </c:pt>
                <c:pt idx="615">
                  <c:v>28.024999999999999</c:v>
                </c:pt>
                <c:pt idx="616">
                  <c:v>28.024999999999999</c:v>
                </c:pt>
                <c:pt idx="617">
                  <c:v>28.225000000000001</c:v>
                </c:pt>
                <c:pt idx="618">
                  <c:v>29.3</c:v>
                </c:pt>
                <c:pt idx="619">
                  <c:v>28.725000000000001</c:v>
                </c:pt>
                <c:pt idx="620">
                  <c:v>27.6</c:v>
                </c:pt>
                <c:pt idx="621">
                  <c:v>26.6</c:v>
                </c:pt>
                <c:pt idx="622">
                  <c:v>26.975000000000001</c:v>
                </c:pt>
                <c:pt idx="623">
                  <c:v>26.975000000000001</c:v>
                </c:pt>
                <c:pt idx="624">
                  <c:v>27.25</c:v>
                </c:pt>
                <c:pt idx="625">
                  <c:v>27.6</c:v>
                </c:pt>
                <c:pt idx="626">
                  <c:v>27.125</c:v>
                </c:pt>
                <c:pt idx="627">
                  <c:v>28.274999999999999</c:v>
                </c:pt>
                <c:pt idx="628">
                  <c:v>28.225000000000001</c:v>
                </c:pt>
                <c:pt idx="629">
                  <c:v>28.6</c:v>
                </c:pt>
                <c:pt idx="630">
                  <c:v>28.6</c:v>
                </c:pt>
                <c:pt idx="631">
                  <c:v>28.6</c:v>
                </c:pt>
                <c:pt idx="632">
                  <c:v>29.6</c:v>
                </c:pt>
                <c:pt idx="633">
                  <c:v>29.375</c:v>
                </c:pt>
                <c:pt idx="634">
                  <c:v>28.25</c:v>
                </c:pt>
                <c:pt idx="635">
                  <c:v>27.475000000000001</c:v>
                </c:pt>
                <c:pt idx="636">
                  <c:v>27.125</c:v>
                </c:pt>
                <c:pt idx="637">
                  <c:v>27.125</c:v>
                </c:pt>
                <c:pt idx="638">
                  <c:v>27.1</c:v>
                </c:pt>
                <c:pt idx="639">
                  <c:v>27.55</c:v>
                </c:pt>
                <c:pt idx="640">
                  <c:v>27.125</c:v>
                </c:pt>
                <c:pt idx="641">
                  <c:v>26.85</c:v>
                </c:pt>
                <c:pt idx="642">
                  <c:v>27.324999999999999</c:v>
                </c:pt>
                <c:pt idx="643">
                  <c:v>27.375</c:v>
                </c:pt>
                <c:pt idx="644">
                  <c:v>27.375</c:v>
                </c:pt>
                <c:pt idx="645">
                  <c:v>27.4</c:v>
                </c:pt>
                <c:pt idx="646">
                  <c:v>27.15</c:v>
                </c:pt>
                <c:pt idx="647">
                  <c:v>26.5</c:v>
                </c:pt>
                <c:pt idx="648">
                  <c:v>25.524999999999999</c:v>
                </c:pt>
                <c:pt idx="649">
                  <c:v>24.774999999999999</c:v>
                </c:pt>
                <c:pt idx="650">
                  <c:v>25.45</c:v>
                </c:pt>
                <c:pt idx="651">
                  <c:v>25.45</c:v>
                </c:pt>
                <c:pt idx="652">
                  <c:v>25.55</c:v>
                </c:pt>
                <c:pt idx="653">
                  <c:v>25.875</c:v>
                </c:pt>
                <c:pt idx="654">
                  <c:v>25.725000000000001</c:v>
                </c:pt>
                <c:pt idx="655">
                  <c:v>25.3</c:v>
                </c:pt>
                <c:pt idx="656">
                  <c:v>25.15</c:v>
                </c:pt>
                <c:pt idx="657">
                  <c:v>26.125</c:v>
                </c:pt>
                <c:pt idx="658">
                  <c:v>26.125</c:v>
                </c:pt>
                <c:pt idx="659">
                  <c:v>26.35</c:v>
                </c:pt>
                <c:pt idx="660">
                  <c:v>25</c:v>
                </c:pt>
                <c:pt idx="661">
                  <c:v>24.574999999999999</c:v>
                </c:pt>
                <c:pt idx="662">
                  <c:v>24.95</c:v>
                </c:pt>
                <c:pt idx="663">
                  <c:v>24.55</c:v>
                </c:pt>
                <c:pt idx="664">
                  <c:v>23.8</c:v>
                </c:pt>
                <c:pt idx="665">
                  <c:v>23.8</c:v>
                </c:pt>
                <c:pt idx="666">
                  <c:v>24</c:v>
                </c:pt>
                <c:pt idx="667">
                  <c:v>24.4</c:v>
                </c:pt>
                <c:pt idx="668">
                  <c:v>23.85</c:v>
                </c:pt>
                <c:pt idx="669">
                  <c:v>23.512499999999999</c:v>
                </c:pt>
                <c:pt idx="670">
                  <c:v>23.4</c:v>
                </c:pt>
                <c:pt idx="671">
                  <c:v>23.725000000000001</c:v>
                </c:pt>
                <c:pt idx="672">
                  <c:v>23.725000000000001</c:v>
                </c:pt>
                <c:pt idx="673">
                  <c:v>23.524999999999999</c:v>
                </c:pt>
                <c:pt idx="674">
                  <c:v>23.3</c:v>
                </c:pt>
                <c:pt idx="675">
                  <c:v>23.2</c:v>
                </c:pt>
                <c:pt idx="676">
                  <c:v>24.3</c:v>
                </c:pt>
                <c:pt idx="677">
                  <c:v>24.074999999999999</c:v>
                </c:pt>
                <c:pt idx="678">
                  <c:v>23.55</c:v>
                </c:pt>
                <c:pt idx="679">
                  <c:v>23.55</c:v>
                </c:pt>
                <c:pt idx="680">
                  <c:v>23.85</c:v>
                </c:pt>
                <c:pt idx="681">
                  <c:v>25.4</c:v>
                </c:pt>
                <c:pt idx="682">
                  <c:v>26.274999999999999</c:v>
                </c:pt>
                <c:pt idx="683">
                  <c:v>26.375</c:v>
                </c:pt>
                <c:pt idx="684">
                  <c:v>26.524999999999999</c:v>
                </c:pt>
                <c:pt idx="685">
                  <c:v>25.75</c:v>
                </c:pt>
                <c:pt idx="686">
                  <c:v>25.75</c:v>
                </c:pt>
                <c:pt idx="687">
                  <c:v>25.6</c:v>
                </c:pt>
                <c:pt idx="688">
                  <c:v>24.324999999999999</c:v>
                </c:pt>
                <c:pt idx="689">
                  <c:v>24.7</c:v>
                </c:pt>
                <c:pt idx="690">
                  <c:v>24.75</c:v>
                </c:pt>
                <c:pt idx="691">
                  <c:v>24.75</c:v>
                </c:pt>
                <c:pt idx="692">
                  <c:v>24.95</c:v>
                </c:pt>
                <c:pt idx="693">
                  <c:v>24.95</c:v>
                </c:pt>
                <c:pt idx="694">
                  <c:v>24.875</c:v>
                </c:pt>
                <c:pt idx="695">
                  <c:v>24.625</c:v>
                </c:pt>
                <c:pt idx="696">
                  <c:v>25.15</c:v>
                </c:pt>
                <c:pt idx="697">
                  <c:v>24.3</c:v>
                </c:pt>
                <c:pt idx="698">
                  <c:v>24.574999999999999</c:v>
                </c:pt>
                <c:pt idx="699">
                  <c:v>24.175000000000001</c:v>
                </c:pt>
                <c:pt idx="700">
                  <c:v>24.175000000000001</c:v>
                </c:pt>
                <c:pt idx="701">
                  <c:v>24.2</c:v>
                </c:pt>
                <c:pt idx="702">
                  <c:v>24.6</c:v>
                </c:pt>
                <c:pt idx="703">
                  <c:v>24</c:v>
                </c:pt>
                <c:pt idx="704">
                  <c:v>23.45</c:v>
                </c:pt>
                <c:pt idx="705">
                  <c:v>22.65</c:v>
                </c:pt>
                <c:pt idx="706">
                  <c:v>22.3</c:v>
                </c:pt>
                <c:pt idx="707">
                  <c:v>22.3</c:v>
                </c:pt>
                <c:pt idx="708">
                  <c:v>22.35</c:v>
                </c:pt>
                <c:pt idx="709">
                  <c:v>23.1</c:v>
                </c:pt>
                <c:pt idx="710">
                  <c:v>23.5</c:v>
                </c:pt>
                <c:pt idx="711">
                  <c:v>24</c:v>
                </c:pt>
                <c:pt idx="712">
                  <c:v>24.175000000000001</c:v>
                </c:pt>
                <c:pt idx="713">
                  <c:v>24.574999999999999</c:v>
                </c:pt>
                <c:pt idx="714">
                  <c:v>24.574999999999999</c:v>
                </c:pt>
                <c:pt idx="715">
                  <c:v>24.65</c:v>
                </c:pt>
                <c:pt idx="716">
                  <c:v>24.55</c:v>
                </c:pt>
                <c:pt idx="717">
                  <c:v>23.75</c:v>
                </c:pt>
                <c:pt idx="718">
                  <c:v>24.3</c:v>
                </c:pt>
                <c:pt idx="719">
                  <c:v>24.475000000000001</c:v>
                </c:pt>
                <c:pt idx="720">
                  <c:v>24.425000000000001</c:v>
                </c:pt>
                <c:pt idx="721">
                  <c:v>24.425000000000001</c:v>
                </c:pt>
                <c:pt idx="722">
                  <c:v>24.475000000000001</c:v>
                </c:pt>
                <c:pt idx="723">
                  <c:v>24.35</c:v>
                </c:pt>
                <c:pt idx="724">
                  <c:v>24.35</c:v>
                </c:pt>
                <c:pt idx="725">
                  <c:v>24.425000000000001</c:v>
                </c:pt>
                <c:pt idx="726">
                  <c:v>23.274999999999999</c:v>
                </c:pt>
                <c:pt idx="727">
                  <c:v>21.95</c:v>
                </c:pt>
                <c:pt idx="728">
                  <c:v>21.95</c:v>
                </c:pt>
                <c:pt idx="729">
                  <c:v>22.05</c:v>
                </c:pt>
                <c:pt idx="730">
                  <c:v>20.475000000000001</c:v>
                </c:pt>
                <c:pt idx="731">
                  <c:v>20.7</c:v>
                </c:pt>
                <c:pt idx="732">
                  <c:v>22.35</c:v>
                </c:pt>
                <c:pt idx="733">
                  <c:v>21.75</c:v>
                </c:pt>
                <c:pt idx="734">
                  <c:v>22.1</c:v>
                </c:pt>
                <c:pt idx="735">
                  <c:v>22.1</c:v>
                </c:pt>
                <c:pt idx="736">
                  <c:v>22.074999999999999</c:v>
                </c:pt>
                <c:pt idx="737">
                  <c:v>20.774999999999999</c:v>
                </c:pt>
                <c:pt idx="738">
                  <c:v>21.75</c:v>
                </c:pt>
                <c:pt idx="739">
                  <c:v>21.25</c:v>
                </c:pt>
                <c:pt idx="740">
                  <c:v>21.55</c:v>
                </c:pt>
                <c:pt idx="741">
                  <c:v>21.45</c:v>
                </c:pt>
                <c:pt idx="742">
                  <c:v>21.45</c:v>
                </c:pt>
                <c:pt idx="743">
                  <c:v>21.5</c:v>
                </c:pt>
                <c:pt idx="744">
                  <c:v>21.35</c:v>
                </c:pt>
                <c:pt idx="745">
                  <c:v>21.3</c:v>
                </c:pt>
                <c:pt idx="746">
                  <c:v>21.7</c:v>
                </c:pt>
                <c:pt idx="747">
                  <c:v>22.574999999999999</c:v>
                </c:pt>
                <c:pt idx="748">
                  <c:v>22.425000000000001</c:v>
                </c:pt>
                <c:pt idx="749">
                  <c:v>22.425000000000001</c:v>
                </c:pt>
                <c:pt idx="750">
                  <c:v>22.324999999999999</c:v>
                </c:pt>
                <c:pt idx="751">
                  <c:v>21.65</c:v>
                </c:pt>
                <c:pt idx="752">
                  <c:v>21.6</c:v>
                </c:pt>
                <c:pt idx="753">
                  <c:v>22.024999999999999</c:v>
                </c:pt>
                <c:pt idx="754">
                  <c:v>21.274999999999999</c:v>
                </c:pt>
                <c:pt idx="755">
                  <c:v>20.5</c:v>
                </c:pt>
                <c:pt idx="756">
                  <c:v>20.5</c:v>
                </c:pt>
                <c:pt idx="757">
                  <c:v>20.75</c:v>
                </c:pt>
                <c:pt idx="758">
                  <c:v>20.55</c:v>
                </c:pt>
                <c:pt idx="759">
                  <c:v>20.75</c:v>
                </c:pt>
                <c:pt idx="760">
                  <c:v>20.149999999999999</c:v>
                </c:pt>
                <c:pt idx="761">
                  <c:v>19.925000000000001</c:v>
                </c:pt>
                <c:pt idx="762">
                  <c:v>19</c:v>
                </c:pt>
                <c:pt idx="763">
                  <c:v>19</c:v>
                </c:pt>
                <c:pt idx="764">
                  <c:v>19.25</c:v>
                </c:pt>
                <c:pt idx="765">
                  <c:v>19.350000000000001</c:v>
                </c:pt>
                <c:pt idx="766">
                  <c:v>18.600000000000001</c:v>
                </c:pt>
                <c:pt idx="767">
                  <c:v>18.899999999999999</c:v>
                </c:pt>
                <c:pt idx="768">
                  <c:v>18.574999999999999</c:v>
                </c:pt>
                <c:pt idx="769">
                  <c:v>18.2</c:v>
                </c:pt>
                <c:pt idx="770">
                  <c:v>18.2</c:v>
                </c:pt>
                <c:pt idx="771">
                  <c:v>18.25</c:v>
                </c:pt>
                <c:pt idx="772">
                  <c:v>18.2</c:v>
                </c:pt>
                <c:pt idx="773">
                  <c:v>17.5</c:v>
                </c:pt>
                <c:pt idx="774">
                  <c:v>18</c:v>
                </c:pt>
                <c:pt idx="775">
                  <c:v>17.75</c:v>
                </c:pt>
                <c:pt idx="776">
                  <c:v>17.8</c:v>
                </c:pt>
                <c:pt idx="777">
                  <c:v>17.8</c:v>
                </c:pt>
                <c:pt idx="778">
                  <c:v>17.8</c:v>
                </c:pt>
                <c:pt idx="779">
                  <c:v>17.350000000000001</c:v>
                </c:pt>
                <c:pt idx="780">
                  <c:v>17.8</c:v>
                </c:pt>
                <c:pt idx="781">
                  <c:v>18.125</c:v>
                </c:pt>
                <c:pt idx="782">
                  <c:v>17.524999999999999</c:v>
                </c:pt>
                <c:pt idx="783">
                  <c:v>16.899999999999999</c:v>
                </c:pt>
                <c:pt idx="784">
                  <c:v>16.899999999999999</c:v>
                </c:pt>
                <c:pt idx="785">
                  <c:v>16.925000000000001</c:v>
                </c:pt>
                <c:pt idx="786">
                  <c:v>16.875</c:v>
                </c:pt>
                <c:pt idx="787">
                  <c:v>17.074999999999999</c:v>
                </c:pt>
                <c:pt idx="788">
                  <c:v>17.8</c:v>
                </c:pt>
                <c:pt idx="789">
                  <c:v>17.725000000000001</c:v>
                </c:pt>
                <c:pt idx="790">
                  <c:v>17.375</c:v>
                </c:pt>
                <c:pt idx="791">
                  <c:v>17.375</c:v>
                </c:pt>
                <c:pt idx="792">
                  <c:v>17.25</c:v>
                </c:pt>
                <c:pt idx="793">
                  <c:v>17.574999999999999</c:v>
                </c:pt>
                <c:pt idx="794">
                  <c:v>17.175000000000001</c:v>
                </c:pt>
                <c:pt idx="795">
                  <c:v>16.925000000000001</c:v>
                </c:pt>
                <c:pt idx="796">
                  <c:v>16.725000000000001</c:v>
                </c:pt>
                <c:pt idx="797">
                  <c:v>16.725000000000001</c:v>
                </c:pt>
                <c:pt idx="798">
                  <c:v>16.725000000000001</c:v>
                </c:pt>
                <c:pt idx="799">
                  <c:v>16.75</c:v>
                </c:pt>
                <c:pt idx="800">
                  <c:v>16.850000000000001</c:v>
                </c:pt>
                <c:pt idx="801">
                  <c:v>16.55</c:v>
                </c:pt>
                <c:pt idx="802">
                  <c:v>15.925000000000001</c:v>
                </c:pt>
                <c:pt idx="803">
                  <c:v>15.55</c:v>
                </c:pt>
                <c:pt idx="804">
                  <c:v>14.824999999999999</c:v>
                </c:pt>
                <c:pt idx="805">
                  <c:v>14.824999999999999</c:v>
                </c:pt>
                <c:pt idx="806">
                  <c:v>14.8</c:v>
                </c:pt>
                <c:pt idx="807">
                  <c:v>15.4</c:v>
                </c:pt>
                <c:pt idx="808">
                  <c:v>15.225</c:v>
                </c:pt>
                <c:pt idx="809">
                  <c:v>15.15</c:v>
                </c:pt>
                <c:pt idx="810">
                  <c:v>14.525</c:v>
                </c:pt>
                <c:pt idx="811">
                  <c:v>14.225</c:v>
                </c:pt>
                <c:pt idx="812">
                  <c:v>14.225</c:v>
                </c:pt>
                <c:pt idx="813">
                  <c:v>14.2</c:v>
                </c:pt>
                <c:pt idx="814">
                  <c:v>14.2</c:v>
                </c:pt>
                <c:pt idx="815">
                  <c:v>14.625</c:v>
                </c:pt>
                <c:pt idx="816">
                  <c:v>14.925000000000001</c:v>
                </c:pt>
                <c:pt idx="817">
                  <c:v>14.275</c:v>
                </c:pt>
                <c:pt idx="818">
                  <c:v>14.25</c:v>
                </c:pt>
                <c:pt idx="819">
                  <c:v>14.25</c:v>
                </c:pt>
                <c:pt idx="820">
                  <c:v>14.7</c:v>
                </c:pt>
                <c:pt idx="821">
                  <c:v>14.125</c:v>
                </c:pt>
                <c:pt idx="822">
                  <c:v>13.7</c:v>
                </c:pt>
                <c:pt idx="823">
                  <c:v>14.375</c:v>
                </c:pt>
                <c:pt idx="824">
                  <c:v>15.074999999999999</c:v>
                </c:pt>
                <c:pt idx="825">
                  <c:v>16.600000000000001</c:v>
                </c:pt>
                <c:pt idx="826">
                  <c:v>16.600000000000001</c:v>
                </c:pt>
                <c:pt idx="827">
                  <c:v>16.600000000000001</c:v>
                </c:pt>
                <c:pt idx="828">
                  <c:v>15.824999999999999</c:v>
                </c:pt>
                <c:pt idx="829">
                  <c:v>16.899999999999999</c:v>
                </c:pt>
                <c:pt idx="830">
                  <c:v>16.375</c:v>
                </c:pt>
                <c:pt idx="831">
                  <c:v>16.7</c:v>
                </c:pt>
                <c:pt idx="832">
                  <c:v>16.074999999999999</c:v>
                </c:pt>
                <c:pt idx="833">
                  <c:v>16.074999999999999</c:v>
                </c:pt>
                <c:pt idx="834">
                  <c:v>16.074999999999999</c:v>
                </c:pt>
                <c:pt idx="835">
                  <c:v>15.1</c:v>
                </c:pt>
                <c:pt idx="836">
                  <c:v>15.3</c:v>
                </c:pt>
                <c:pt idx="837">
                  <c:v>15.125</c:v>
                </c:pt>
                <c:pt idx="838">
                  <c:v>14.625</c:v>
                </c:pt>
                <c:pt idx="839">
                  <c:v>14.625</c:v>
                </c:pt>
                <c:pt idx="840">
                  <c:v>14.625</c:v>
                </c:pt>
                <c:pt idx="841">
                  <c:v>14.625</c:v>
                </c:pt>
                <c:pt idx="842">
                  <c:v>14.725</c:v>
                </c:pt>
                <c:pt idx="843">
                  <c:v>14.425000000000001</c:v>
                </c:pt>
                <c:pt idx="844">
                  <c:v>14.25</c:v>
                </c:pt>
                <c:pt idx="845">
                  <c:v>14.574999999999999</c:v>
                </c:pt>
                <c:pt idx="846">
                  <c:v>14.2</c:v>
                </c:pt>
                <c:pt idx="847">
                  <c:v>14.2</c:v>
                </c:pt>
                <c:pt idx="848">
                  <c:v>14.2</c:v>
                </c:pt>
                <c:pt idx="849">
                  <c:v>14.45</c:v>
                </c:pt>
                <c:pt idx="850">
                  <c:v>14.425000000000001</c:v>
                </c:pt>
                <c:pt idx="851">
                  <c:v>14.35</c:v>
                </c:pt>
                <c:pt idx="852">
                  <c:v>14.675000000000001</c:v>
                </c:pt>
                <c:pt idx="853">
                  <c:v>14.525</c:v>
                </c:pt>
                <c:pt idx="854">
                  <c:v>14.525</c:v>
                </c:pt>
                <c:pt idx="855">
                  <c:v>14.525</c:v>
                </c:pt>
                <c:pt idx="856">
                  <c:v>14.5</c:v>
                </c:pt>
                <c:pt idx="857">
                  <c:v>14.45</c:v>
                </c:pt>
                <c:pt idx="858">
                  <c:v>14.525</c:v>
                </c:pt>
                <c:pt idx="859">
                  <c:v>14.6</c:v>
                </c:pt>
                <c:pt idx="860">
                  <c:v>14.3</c:v>
                </c:pt>
                <c:pt idx="861">
                  <c:v>14.3</c:v>
                </c:pt>
                <c:pt idx="862">
                  <c:v>14.3</c:v>
                </c:pt>
                <c:pt idx="863">
                  <c:v>13.875</c:v>
                </c:pt>
                <c:pt idx="864">
                  <c:v>14.05</c:v>
                </c:pt>
                <c:pt idx="865">
                  <c:v>14</c:v>
                </c:pt>
                <c:pt idx="866">
                  <c:v>13.4</c:v>
                </c:pt>
                <c:pt idx="867">
                  <c:v>12.9</c:v>
                </c:pt>
                <c:pt idx="868">
                  <c:v>12.9</c:v>
                </c:pt>
                <c:pt idx="869">
                  <c:v>12.925000000000001</c:v>
                </c:pt>
                <c:pt idx="870">
                  <c:v>12.85</c:v>
                </c:pt>
                <c:pt idx="871">
                  <c:v>12.6</c:v>
                </c:pt>
                <c:pt idx="872">
                  <c:v>12.775</c:v>
                </c:pt>
                <c:pt idx="873">
                  <c:v>12.475</c:v>
                </c:pt>
                <c:pt idx="874">
                  <c:v>12.074999999999999</c:v>
                </c:pt>
                <c:pt idx="875">
                  <c:v>12.074999999999999</c:v>
                </c:pt>
                <c:pt idx="876">
                  <c:v>12.074999999999999</c:v>
                </c:pt>
                <c:pt idx="877">
                  <c:v>12.25</c:v>
                </c:pt>
                <c:pt idx="878">
                  <c:v>12.4</c:v>
                </c:pt>
                <c:pt idx="879">
                  <c:v>11.675000000000001</c:v>
                </c:pt>
                <c:pt idx="880">
                  <c:v>11.35</c:v>
                </c:pt>
                <c:pt idx="881">
                  <c:v>10.35</c:v>
                </c:pt>
                <c:pt idx="882">
                  <c:v>10.35</c:v>
                </c:pt>
                <c:pt idx="883">
                  <c:v>10.3</c:v>
                </c:pt>
                <c:pt idx="884">
                  <c:v>10.175000000000001</c:v>
                </c:pt>
                <c:pt idx="885">
                  <c:v>11.25</c:v>
                </c:pt>
                <c:pt idx="886">
                  <c:v>10.7</c:v>
                </c:pt>
                <c:pt idx="887">
                  <c:v>10.375</c:v>
                </c:pt>
                <c:pt idx="888">
                  <c:v>11.05</c:v>
                </c:pt>
                <c:pt idx="889">
                  <c:v>11.05</c:v>
                </c:pt>
                <c:pt idx="890">
                  <c:v>10.975</c:v>
                </c:pt>
                <c:pt idx="891">
                  <c:v>11.574999999999999</c:v>
                </c:pt>
                <c:pt idx="892">
                  <c:v>11.324999999999999</c:v>
                </c:pt>
                <c:pt idx="893">
                  <c:v>11.225</c:v>
                </c:pt>
                <c:pt idx="894">
                  <c:v>11.425000000000001</c:v>
                </c:pt>
                <c:pt idx="895">
                  <c:v>11.275</c:v>
                </c:pt>
                <c:pt idx="896">
                  <c:v>11.275</c:v>
                </c:pt>
                <c:pt idx="897">
                  <c:v>11.3</c:v>
                </c:pt>
                <c:pt idx="898">
                  <c:v>11.55</c:v>
                </c:pt>
                <c:pt idx="899">
                  <c:v>11.125</c:v>
                </c:pt>
                <c:pt idx="900">
                  <c:v>10.3</c:v>
                </c:pt>
                <c:pt idx="901">
                  <c:v>10.199999999999999</c:v>
                </c:pt>
                <c:pt idx="902">
                  <c:v>10.175000000000001</c:v>
                </c:pt>
                <c:pt idx="903">
                  <c:v>10.175000000000001</c:v>
                </c:pt>
                <c:pt idx="904">
                  <c:v>10.3</c:v>
                </c:pt>
                <c:pt idx="905">
                  <c:v>9.9</c:v>
                </c:pt>
                <c:pt idx="906">
                  <c:v>9.375</c:v>
                </c:pt>
                <c:pt idx="907">
                  <c:v>9.5749999999999993</c:v>
                </c:pt>
                <c:pt idx="908">
                  <c:v>9.15</c:v>
                </c:pt>
                <c:pt idx="909">
                  <c:v>9.4</c:v>
                </c:pt>
                <c:pt idx="910">
                  <c:v>9.4</c:v>
                </c:pt>
                <c:pt idx="911">
                  <c:v>9.35</c:v>
                </c:pt>
                <c:pt idx="912">
                  <c:v>10.225</c:v>
                </c:pt>
                <c:pt idx="913">
                  <c:v>10.324999999999999</c:v>
                </c:pt>
                <c:pt idx="914">
                  <c:v>10.35</c:v>
                </c:pt>
                <c:pt idx="915">
                  <c:v>10.375</c:v>
                </c:pt>
                <c:pt idx="916">
                  <c:v>11</c:v>
                </c:pt>
                <c:pt idx="917">
                  <c:v>11</c:v>
                </c:pt>
                <c:pt idx="918">
                  <c:v>11.175000000000001</c:v>
                </c:pt>
                <c:pt idx="919">
                  <c:v>11.875</c:v>
                </c:pt>
                <c:pt idx="920">
                  <c:v>11.6</c:v>
                </c:pt>
                <c:pt idx="921">
                  <c:v>12.3</c:v>
                </c:pt>
                <c:pt idx="922">
                  <c:v>12.7</c:v>
                </c:pt>
                <c:pt idx="923">
                  <c:v>12.875</c:v>
                </c:pt>
                <c:pt idx="924">
                  <c:v>12.875</c:v>
                </c:pt>
                <c:pt idx="925">
                  <c:v>12.95</c:v>
                </c:pt>
                <c:pt idx="926">
                  <c:v>12.824999999999999</c:v>
                </c:pt>
                <c:pt idx="927">
                  <c:v>11.2</c:v>
                </c:pt>
                <c:pt idx="928">
                  <c:v>11.15</c:v>
                </c:pt>
                <c:pt idx="929">
                  <c:v>10.625</c:v>
                </c:pt>
                <c:pt idx="930">
                  <c:v>10.75</c:v>
                </c:pt>
                <c:pt idx="931">
                  <c:v>10.75</c:v>
                </c:pt>
                <c:pt idx="932">
                  <c:v>10.9</c:v>
                </c:pt>
                <c:pt idx="933">
                  <c:v>10.175000000000001</c:v>
                </c:pt>
                <c:pt idx="934">
                  <c:v>10.75</c:v>
                </c:pt>
                <c:pt idx="935">
                  <c:v>10.3</c:v>
                </c:pt>
                <c:pt idx="936">
                  <c:v>9.9749999999999996</c:v>
                </c:pt>
                <c:pt idx="937">
                  <c:v>10.074999999999999</c:v>
                </c:pt>
                <c:pt idx="938">
                  <c:v>10.074999999999999</c:v>
                </c:pt>
                <c:pt idx="939">
                  <c:v>10.1</c:v>
                </c:pt>
                <c:pt idx="940">
                  <c:v>9.5</c:v>
                </c:pt>
                <c:pt idx="941">
                  <c:v>9.6750000000000007</c:v>
                </c:pt>
                <c:pt idx="942">
                  <c:v>10.125</c:v>
                </c:pt>
                <c:pt idx="943">
                  <c:v>11.25</c:v>
                </c:pt>
                <c:pt idx="944">
                  <c:v>11.25</c:v>
                </c:pt>
                <c:pt idx="945">
                  <c:v>11.25</c:v>
                </c:pt>
                <c:pt idx="946">
                  <c:v>11.3</c:v>
                </c:pt>
                <c:pt idx="947">
                  <c:v>10.025</c:v>
                </c:pt>
                <c:pt idx="948">
                  <c:v>9.35</c:v>
                </c:pt>
                <c:pt idx="949">
                  <c:v>9.7249999999999996</c:v>
                </c:pt>
                <c:pt idx="950">
                  <c:v>10.050000000000001</c:v>
                </c:pt>
                <c:pt idx="951">
                  <c:v>10.25</c:v>
                </c:pt>
                <c:pt idx="952">
                  <c:v>10.25</c:v>
                </c:pt>
                <c:pt idx="953">
                  <c:v>10.35</c:v>
                </c:pt>
                <c:pt idx="954">
                  <c:v>10.45</c:v>
                </c:pt>
                <c:pt idx="955">
                  <c:v>10.625</c:v>
                </c:pt>
                <c:pt idx="956">
                  <c:v>9.65</c:v>
                </c:pt>
                <c:pt idx="957">
                  <c:v>9.4749999999999996</c:v>
                </c:pt>
                <c:pt idx="958">
                  <c:v>9.5500000000000007</c:v>
                </c:pt>
                <c:pt idx="959">
                  <c:v>9.5500000000000007</c:v>
                </c:pt>
                <c:pt idx="960">
                  <c:v>9.5</c:v>
                </c:pt>
                <c:pt idx="961">
                  <c:v>9.4499999999999993</c:v>
                </c:pt>
                <c:pt idx="962">
                  <c:v>9.9</c:v>
                </c:pt>
                <c:pt idx="963">
                  <c:v>9.9499999999999993</c:v>
                </c:pt>
                <c:pt idx="964">
                  <c:v>10.074999999999999</c:v>
                </c:pt>
                <c:pt idx="965">
                  <c:v>9.6</c:v>
                </c:pt>
                <c:pt idx="966">
                  <c:v>9.6</c:v>
                </c:pt>
                <c:pt idx="967">
                  <c:v>9.6</c:v>
                </c:pt>
                <c:pt idx="968">
                  <c:v>9.625</c:v>
                </c:pt>
                <c:pt idx="969">
                  <c:v>10.199999999999999</c:v>
                </c:pt>
                <c:pt idx="970">
                  <c:v>10.15</c:v>
                </c:pt>
                <c:pt idx="971">
                  <c:v>9.85</c:v>
                </c:pt>
                <c:pt idx="972">
                  <c:v>9.2249999999999996</c:v>
                </c:pt>
                <c:pt idx="973">
                  <c:v>9.2249999999999996</c:v>
                </c:pt>
                <c:pt idx="974">
                  <c:v>9.1999999999999993</c:v>
                </c:pt>
                <c:pt idx="975">
                  <c:v>7.85</c:v>
                </c:pt>
                <c:pt idx="976">
                  <c:v>7.5</c:v>
                </c:pt>
                <c:pt idx="977">
                  <c:v>7.5</c:v>
                </c:pt>
                <c:pt idx="978">
                  <c:v>8.0749999999999993</c:v>
                </c:pt>
                <c:pt idx="979">
                  <c:v>9.5</c:v>
                </c:pt>
                <c:pt idx="980">
                  <c:v>9.5</c:v>
                </c:pt>
                <c:pt idx="981">
                  <c:v>9.4499999999999993</c:v>
                </c:pt>
                <c:pt idx="982">
                  <c:v>9.4749999999999996</c:v>
                </c:pt>
                <c:pt idx="983">
                  <c:v>10.9</c:v>
                </c:pt>
                <c:pt idx="984">
                  <c:v>10.25</c:v>
                </c:pt>
                <c:pt idx="985">
                  <c:v>10.9</c:v>
                </c:pt>
                <c:pt idx="986">
                  <c:v>11.025</c:v>
                </c:pt>
                <c:pt idx="987">
                  <c:v>11.025</c:v>
                </c:pt>
                <c:pt idx="988">
                  <c:v>10.8</c:v>
                </c:pt>
                <c:pt idx="989">
                  <c:v>11.15</c:v>
                </c:pt>
                <c:pt idx="990">
                  <c:v>9.6750000000000007</c:v>
                </c:pt>
                <c:pt idx="991">
                  <c:v>9.4499999999999993</c:v>
                </c:pt>
                <c:pt idx="992">
                  <c:v>9.25</c:v>
                </c:pt>
                <c:pt idx="993">
                  <c:v>9.65</c:v>
                </c:pt>
                <c:pt idx="994">
                  <c:v>9.65</c:v>
                </c:pt>
                <c:pt idx="995">
                  <c:v>9.625</c:v>
                </c:pt>
                <c:pt idx="996">
                  <c:v>9.9749999999999996</c:v>
                </c:pt>
                <c:pt idx="997">
                  <c:v>11.074999999999999</c:v>
                </c:pt>
                <c:pt idx="998">
                  <c:v>10.225</c:v>
                </c:pt>
                <c:pt idx="999">
                  <c:v>10.125</c:v>
                </c:pt>
                <c:pt idx="1000">
                  <c:v>9.8249999999999993</c:v>
                </c:pt>
                <c:pt idx="1001">
                  <c:v>9.8249999999999993</c:v>
                </c:pt>
                <c:pt idx="1002">
                  <c:v>9.8000000000000007</c:v>
                </c:pt>
                <c:pt idx="1003">
                  <c:v>8.35</c:v>
                </c:pt>
                <c:pt idx="1004">
                  <c:v>9.9</c:v>
                </c:pt>
                <c:pt idx="1005">
                  <c:v>10.074999999999999</c:v>
                </c:pt>
                <c:pt idx="1006">
                  <c:v>12.05</c:v>
                </c:pt>
                <c:pt idx="1007">
                  <c:v>11</c:v>
                </c:pt>
                <c:pt idx="1008">
                  <c:v>11</c:v>
                </c:pt>
                <c:pt idx="1009">
                  <c:v>11.2</c:v>
                </c:pt>
                <c:pt idx="1010">
                  <c:v>10.199999999999999</c:v>
                </c:pt>
                <c:pt idx="1011">
                  <c:v>9.5</c:v>
                </c:pt>
                <c:pt idx="1012">
                  <c:v>7.9749999999999996</c:v>
                </c:pt>
                <c:pt idx="1013">
                  <c:v>8.6750000000000007</c:v>
                </c:pt>
                <c:pt idx="1014">
                  <c:v>8.7249999999999996</c:v>
                </c:pt>
                <c:pt idx="1015">
                  <c:v>8.7249999999999996</c:v>
                </c:pt>
                <c:pt idx="1016">
                  <c:v>9</c:v>
                </c:pt>
                <c:pt idx="1017">
                  <c:v>10.45</c:v>
                </c:pt>
                <c:pt idx="1018">
                  <c:v>10.975</c:v>
                </c:pt>
                <c:pt idx="1019">
                  <c:v>10.6</c:v>
                </c:pt>
                <c:pt idx="1020">
                  <c:v>9.875</c:v>
                </c:pt>
                <c:pt idx="1021">
                  <c:v>10.199999999999999</c:v>
                </c:pt>
                <c:pt idx="1022">
                  <c:v>10.199999999999999</c:v>
                </c:pt>
                <c:pt idx="1023">
                  <c:v>10.199999999999999</c:v>
                </c:pt>
                <c:pt idx="1024">
                  <c:v>10</c:v>
                </c:pt>
                <c:pt idx="1025">
                  <c:v>10.45</c:v>
                </c:pt>
                <c:pt idx="1026">
                  <c:v>10.324999999999999</c:v>
                </c:pt>
                <c:pt idx="1027">
                  <c:v>9.85</c:v>
                </c:pt>
                <c:pt idx="1028">
                  <c:v>9</c:v>
                </c:pt>
                <c:pt idx="1029">
                  <c:v>9</c:v>
                </c:pt>
                <c:pt idx="1030">
                  <c:v>10.775</c:v>
                </c:pt>
                <c:pt idx="1031">
                  <c:v>11.25</c:v>
                </c:pt>
                <c:pt idx="1032">
                  <c:v>10.324999999999999</c:v>
                </c:pt>
                <c:pt idx="1033">
                  <c:v>10.25</c:v>
                </c:pt>
                <c:pt idx="1034">
                  <c:v>9.6</c:v>
                </c:pt>
                <c:pt idx="1035">
                  <c:v>11.5</c:v>
                </c:pt>
                <c:pt idx="1036">
                  <c:v>11.5</c:v>
                </c:pt>
                <c:pt idx="1037">
                  <c:v>11.55</c:v>
                </c:pt>
                <c:pt idx="1038">
                  <c:v>13.1</c:v>
                </c:pt>
                <c:pt idx="1039">
                  <c:v>13.25</c:v>
                </c:pt>
                <c:pt idx="1040">
                  <c:v>13</c:v>
                </c:pt>
                <c:pt idx="1041">
                  <c:v>13.875</c:v>
                </c:pt>
                <c:pt idx="1042">
                  <c:v>14.4</c:v>
                </c:pt>
                <c:pt idx="1043">
                  <c:v>14.4</c:v>
                </c:pt>
                <c:pt idx="1044">
                  <c:v>14.55</c:v>
                </c:pt>
                <c:pt idx="1045">
                  <c:v>14.6</c:v>
                </c:pt>
                <c:pt idx="1046">
                  <c:v>14.95</c:v>
                </c:pt>
                <c:pt idx="1047">
                  <c:v>14.85</c:v>
                </c:pt>
                <c:pt idx="1048">
                  <c:v>14.6</c:v>
                </c:pt>
                <c:pt idx="1049">
                  <c:v>14.85</c:v>
                </c:pt>
                <c:pt idx="1050">
                  <c:v>14.85</c:v>
                </c:pt>
                <c:pt idx="1051">
                  <c:v>15</c:v>
                </c:pt>
                <c:pt idx="1052">
                  <c:v>14.725</c:v>
                </c:pt>
                <c:pt idx="1053">
                  <c:v>15.074999999999999</c:v>
                </c:pt>
                <c:pt idx="1054">
                  <c:v>15.45</c:v>
                </c:pt>
                <c:pt idx="1055">
                  <c:v>15.675000000000001</c:v>
                </c:pt>
                <c:pt idx="1056">
                  <c:v>16</c:v>
                </c:pt>
                <c:pt idx="1057">
                  <c:v>16</c:v>
                </c:pt>
                <c:pt idx="1058">
                  <c:v>16.05</c:v>
                </c:pt>
                <c:pt idx="1059">
                  <c:v>16.45</c:v>
                </c:pt>
                <c:pt idx="1060">
                  <c:v>15.65</c:v>
                </c:pt>
                <c:pt idx="1061">
                  <c:v>15.824999999999999</c:v>
                </c:pt>
                <c:pt idx="1062">
                  <c:v>15.725</c:v>
                </c:pt>
                <c:pt idx="1063">
                  <c:v>15.4</c:v>
                </c:pt>
                <c:pt idx="1064">
                  <c:v>15.4</c:v>
                </c:pt>
                <c:pt idx="1065">
                  <c:v>15.625</c:v>
                </c:pt>
                <c:pt idx="1066">
                  <c:v>15.425000000000001</c:v>
                </c:pt>
                <c:pt idx="1067">
                  <c:v>15</c:v>
                </c:pt>
                <c:pt idx="1068">
                  <c:v>14.875</c:v>
                </c:pt>
                <c:pt idx="1069">
                  <c:v>13.975</c:v>
                </c:pt>
                <c:pt idx="1070">
                  <c:v>13.75</c:v>
                </c:pt>
                <c:pt idx="1071">
                  <c:v>13.75</c:v>
                </c:pt>
                <c:pt idx="1072">
                  <c:v>13.9</c:v>
                </c:pt>
                <c:pt idx="1073">
                  <c:v>13.525</c:v>
                </c:pt>
                <c:pt idx="1074">
                  <c:v>13.45</c:v>
                </c:pt>
                <c:pt idx="1075">
                  <c:v>13.125</c:v>
                </c:pt>
                <c:pt idx="1076">
                  <c:v>13.475</c:v>
                </c:pt>
                <c:pt idx="1077">
                  <c:v>12.8</c:v>
                </c:pt>
                <c:pt idx="1078">
                  <c:v>12.8</c:v>
                </c:pt>
                <c:pt idx="1079">
                  <c:v>12.925000000000001</c:v>
                </c:pt>
                <c:pt idx="1080">
                  <c:v>12.574999999999999</c:v>
                </c:pt>
                <c:pt idx="1081">
                  <c:v>12.9</c:v>
                </c:pt>
                <c:pt idx="1082">
                  <c:v>12.574999999999999</c:v>
                </c:pt>
                <c:pt idx="1083">
                  <c:v>12.9</c:v>
                </c:pt>
                <c:pt idx="1084">
                  <c:v>12.4</c:v>
                </c:pt>
                <c:pt idx="1085">
                  <c:v>12.4</c:v>
                </c:pt>
                <c:pt idx="1086">
                  <c:v>12.65</c:v>
                </c:pt>
                <c:pt idx="1087">
                  <c:v>11.375</c:v>
                </c:pt>
                <c:pt idx="1088">
                  <c:v>11</c:v>
                </c:pt>
                <c:pt idx="1089">
                  <c:v>11</c:v>
                </c:pt>
                <c:pt idx="1090">
                  <c:v>11</c:v>
                </c:pt>
                <c:pt idx="1091">
                  <c:v>12.45</c:v>
                </c:pt>
                <c:pt idx="1092">
                  <c:v>12.45</c:v>
                </c:pt>
                <c:pt idx="1093">
                  <c:v>12.525</c:v>
                </c:pt>
                <c:pt idx="1094">
                  <c:v>12.275</c:v>
                </c:pt>
                <c:pt idx="1095">
                  <c:v>11.8</c:v>
                </c:pt>
                <c:pt idx="1096">
                  <c:v>11.8</c:v>
                </c:pt>
                <c:pt idx="1097">
                  <c:v>11.875</c:v>
                </c:pt>
                <c:pt idx="1098">
                  <c:v>12.425000000000001</c:v>
                </c:pt>
                <c:pt idx="1099">
                  <c:v>12.425000000000001</c:v>
                </c:pt>
                <c:pt idx="1100">
                  <c:v>12.725</c:v>
                </c:pt>
                <c:pt idx="1101">
                  <c:v>12.15</c:v>
                </c:pt>
                <c:pt idx="1102">
                  <c:v>11.65</c:v>
                </c:pt>
                <c:pt idx="1103">
                  <c:v>11.6</c:v>
                </c:pt>
                <c:pt idx="1104">
                  <c:v>11.85</c:v>
                </c:pt>
                <c:pt idx="1105">
                  <c:v>11.775</c:v>
                </c:pt>
                <c:pt idx="1106">
                  <c:v>11.775</c:v>
                </c:pt>
                <c:pt idx="1107">
                  <c:v>11.8</c:v>
                </c:pt>
                <c:pt idx="1108">
                  <c:v>11.875</c:v>
                </c:pt>
                <c:pt idx="1109">
                  <c:v>11.2</c:v>
                </c:pt>
                <c:pt idx="1110">
                  <c:v>11.15</c:v>
                </c:pt>
                <c:pt idx="1111">
                  <c:v>11.074999999999999</c:v>
                </c:pt>
                <c:pt idx="1112">
                  <c:v>10.925000000000001</c:v>
                </c:pt>
                <c:pt idx="1113">
                  <c:v>10.925000000000001</c:v>
                </c:pt>
                <c:pt idx="1114">
                  <c:v>10.9</c:v>
                </c:pt>
                <c:pt idx="1115">
                  <c:v>10.65</c:v>
                </c:pt>
                <c:pt idx="1116">
                  <c:v>10.95</c:v>
                </c:pt>
                <c:pt idx="1117">
                  <c:v>10.45</c:v>
                </c:pt>
                <c:pt idx="1118">
                  <c:v>10.425000000000001</c:v>
                </c:pt>
                <c:pt idx="1119">
                  <c:v>10.525</c:v>
                </c:pt>
                <c:pt idx="1120">
                  <c:v>10.525</c:v>
                </c:pt>
                <c:pt idx="1121">
                  <c:v>10.45</c:v>
                </c:pt>
                <c:pt idx="1122">
                  <c:v>10.425000000000001</c:v>
                </c:pt>
                <c:pt idx="1123">
                  <c:v>10.824999999999999</c:v>
                </c:pt>
                <c:pt idx="1124">
                  <c:v>10.1</c:v>
                </c:pt>
                <c:pt idx="1125">
                  <c:v>9.7750000000000004</c:v>
                </c:pt>
                <c:pt idx="1126">
                  <c:v>9.6</c:v>
                </c:pt>
                <c:pt idx="1127">
                  <c:v>9.6</c:v>
                </c:pt>
                <c:pt idx="1128">
                  <c:v>9.8000000000000007</c:v>
                </c:pt>
                <c:pt idx="1129">
                  <c:v>9.375</c:v>
                </c:pt>
                <c:pt idx="1130">
                  <c:v>9.7249999999999996</c:v>
                </c:pt>
                <c:pt idx="1131">
                  <c:v>9.65</c:v>
                </c:pt>
                <c:pt idx="1132">
                  <c:v>9.1999999999999993</c:v>
                </c:pt>
                <c:pt idx="1133">
                  <c:v>9.1999999999999993</c:v>
                </c:pt>
                <c:pt idx="1134">
                  <c:v>9.1999999999999993</c:v>
                </c:pt>
                <c:pt idx="1135">
                  <c:v>9.1750000000000007</c:v>
                </c:pt>
                <c:pt idx="1136">
                  <c:v>8.875</c:v>
                </c:pt>
                <c:pt idx="1137">
                  <c:v>8.9499999999999993</c:v>
                </c:pt>
                <c:pt idx="1138">
                  <c:v>9.1750000000000007</c:v>
                </c:pt>
                <c:pt idx="1139">
                  <c:v>9</c:v>
                </c:pt>
                <c:pt idx="1140">
                  <c:v>9.1999999999999993</c:v>
                </c:pt>
                <c:pt idx="1141">
                  <c:v>9.1999999999999993</c:v>
                </c:pt>
                <c:pt idx="1142">
                  <c:v>9.0500000000000007</c:v>
                </c:pt>
                <c:pt idx="1143">
                  <c:v>9.4</c:v>
                </c:pt>
                <c:pt idx="1144">
                  <c:v>9.6</c:v>
                </c:pt>
                <c:pt idx="1145">
                  <c:v>9.7750000000000004</c:v>
                </c:pt>
                <c:pt idx="1146">
                  <c:v>9.75</c:v>
                </c:pt>
                <c:pt idx="1147">
                  <c:v>9.3249999999999993</c:v>
                </c:pt>
                <c:pt idx="1148">
                  <c:v>9.3249999999999993</c:v>
                </c:pt>
                <c:pt idx="1149">
                  <c:v>9.4499999999999993</c:v>
                </c:pt>
                <c:pt idx="1150">
                  <c:v>9.15</c:v>
                </c:pt>
                <c:pt idx="1151">
                  <c:v>9.2249999999999996</c:v>
                </c:pt>
                <c:pt idx="1152">
                  <c:v>9.4</c:v>
                </c:pt>
                <c:pt idx="1153">
                  <c:v>9.1750000000000007</c:v>
                </c:pt>
                <c:pt idx="1154">
                  <c:v>9.0250000000000004</c:v>
                </c:pt>
                <c:pt idx="1155">
                  <c:v>9.0250000000000004</c:v>
                </c:pt>
                <c:pt idx="1156">
                  <c:v>9.25</c:v>
                </c:pt>
                <c:pt idx="1157">
                  <c:v>9.375</c:v>
                </c:pt>
                <c:pt idx="1158">
                  <c:v>9.5250000000000004</c:v>
                </c:pt>
                <c:pt idx="1159">
                  <c:v>9.3249999999999993</c:v>
                </c:pt>
                <c:pt idx="1160">
                  <c:v>9.35</c:v>
                </c:pt>
                <c:pt idx="1161">
                  <c:v>8.7750000000000004</c:v>
                </c:pt>
                <c:pt idx="1162">
                  <c:v>8.7750000000000004</c:v>
                </c:pt>
                <c:pt idx="1163">
                  <c:v>8.875</c:v>
                </c:pt>
                <c:pt idx="1164">
                  <c:v>8.8000000000000007</c:v>
                </c:pt>
                <c:pt idx="1165">
                  <c:v>9.125</c:v>
                </c:pt>
                <c:pt idx="1166">
                  <c:v>9.25</c:v>
                </c:pt>
                <c:pt idx="1167">
                  <c:v>9.25</c:v>
                </c:pt>
                <c:pt idx="1168">
                  <c:v>9.3249999999999993</c:v>
                </c:pt>
                <c:pt idx="1169">
                  <c:v>9.3249999999999993</c:v>
                </c:pt>
                <c:pt idx="1170">
                  <c:v>9.5500000000000007</c:v>
                </c:pt>
                <c:pt idx="1171">
                  <c:v>8.85</c:v>
                </c:pt>
                <c:pt idx="1172">
                  <c:v>8.4749999999999996</c:v>
                </c:pt>
                <c:pt idx="1173">
                  <c:v>8.5</c:v>
                </c:pt>
                <c:pt idx="1174">
                  <c:v>8.7249999999999996</c:v>
                </c:pt>
                <c:pt idx="1175">
                  <c:v>8.15</c:v>
                </c:pt>
                <c:pt idx="1176">
                  <c:v>8.15</c:v>
                </c:pt>
                <c:pt idx="1177">
                  <c:v>8.2249999999999996</c:v>
                </c:pt>
                <c:pt idx="1178">
                  <c:v>8.1750000000000007</c:v>
                </c:pt>
                <c:pt idx="1179">
                  <c:v>8.125</c:v>
                </c:pt>
                <c:pt idx="1180">
                  <c:v>8</c:v>
                </c:pt>
                <c:pt idx="1181">
                  <c:v>7.7249999999999996</c:v>
                </c:pt>
                <c:pt idx="1182">
                  <c:v>7.4</c:v>
                </c:pt>
                <c:pt idx="1183">
                  <c:v>7.4</c:v>
                </c:pt>
                <c:pt idx="1184">
                  <c:v>7.4</c:v>
                </c:pt>
                <c:pt idx="1185">
                  <c:v>7.15</c:v>
                </c:pt>
                <c:pt idx="1186">
                  <c:v>7.125</c:v>
                </c:pt>
                <c:pt idx="1187">
                  <c:v>7.05</c:v>
                </c:pt>
                <c:pt idx="1188">
                  <c:v>7.1</c:v>
                </c:pt>
                <c:pt idx="1189">
                  <c:v>7.0250000000000004</c:v>
                </c:pt>
                <c:pt idx="1190">
                  <c:v>7.0250000000000004</c:v>
                </c:pt>
                <c:pt idx="1191">
                  <c:v>7.1</c:v>
                </c:pt>
                <c:pt idx="1192">
                  <c:v>7.1</c:v>
                </c:pt>
                <c:pt idx="1193">
                  <c:v>7.3250000000000002</c:v>
                </c:pt>
                <c:pt idx="1194">
                  <c:v>7.1</c:v>
                </c:pt>
                <c:pt idx="1195">
                  <c:v>6.8250000000000002</c:v>
                </c:pt>
                <c:pt idx="1196">
                  <c:v>6.8250000000000002</c:v>
                </c:pt>
                <c:pt idx="1197">
                  <c:v>6.8250000000000002</c:v>
                </c:pt>
                <c:pt idx="1198">
                  <c:v>6.8250000000000002</c:v>
                </c:pt>
                <c:pt idx="1199">
                  <c:v>6.9</c:v>
                </c:pt>
                <c:pt idx="1200">
                  <c:v>7.05</c:v>
                </c:pt>
                <c:pt idx="1201">
                  <c:v>6.9</c:v>
                </c:pt>
                <c:pt idx="1202">
                  <c:v>6.95</c:v>
                </c:pt>
                <c:pt idx="1203">
                  <c:v>6.35</c:v>
                </c:pt>
                <c:pt idx="1204">
                  <c:v>6.35</c:v>
                </c:pt>
                <c:pt idx="1205">
                  <c:v>6.35</c:v>
                </c:pt>
                <c:pt idx="1206">
                  <c:v>6.2</c:v>
                </c:pt>
                <c:pt idx="1207">
                  <c:v>5.875</c:v>
                </c:pt>
                <c:pt idx="1208">
                  <c:v>6.05</c:v>
                </c:pt>
                <c:pt idx="1209">
                  <c:v>5.65</c:v>
                </c:pt>
                <c:pt idx="1210">
                  <c:v>5.5250000000000004</c:v>
                </c:pt>
                <c:pt idx="1211">
                  <c:v>5.5250000000000004</c:v>
                </c:pt>
                <c:pt idx="1212">
                  <c:v>5.55</c:v>
                </c:pt>
                <c:pt idx="1213">
                  <c:v>6.0250000000000004</c:v>
                </c:pt>
                <c:pt idx="1214">
                  <c:v>5.95</c:v>
                </c:pt>
                <c:pt idx="1215">
                  <c:v>5.65</c:v>
                </c:pt>
                <c:pt idx="1216">
                  <c:v>5.4249999999999998</c:v>
                </c:pt>
                <c:pt idx="1217">
                  <c:v>5.1749999999999998</c:v>
                </c:pt>
                <c:pt idx="1218">
                  <c:v>5.1749999999999998</c:v>
                </c:pt>
                <c:pt idx="1219">
                  <c:v>5.2</c:v>
                </c:pt>
                <c:pt idx="1220">
                  <c:v>5.55</c:v>
                </c:pt>
                <c:pt idx="1221">
                  <c:v>5.2750000000000004</c:v>
                </c:pt>
                <c:pt idx="1222">
                  <c:v>5.45</c:v>
                </c:pt>
                <c:pt idx="1223">
                  <c:v>5.125</c:v>
                </c:pt>
                <c:pt idx="1224">
                  <c:v>5.125</c:v>
                </c:pt>
                <c:pt idx="1225">
                  <c:v>5.125</c:v>
                </c:pt>
                <c:pt idx="1226">
                  <c:v>5.25</c:v>
                </c:pt>
                <c:pt idx="1227">
                  <c:v>5.85</c:v>
                </c:pt>
                <c:pt idx="1228">
                  <c:v>5.125</c:v>
                </c:pt>
                <c:pt idx="1229">
                  <c:v>5.0750000000000002</c:v>
                </c:pt>
                <c:pt idx="1230">
                  <c:v>4.9000000000000004</c:v>
                </c:pt>
                <c:pt idx="1231">
                  <c:v>4.5999999999999996</c:v>
                </c:pt>
                <c:pt idx="1232">
                  <c:v>4.5999999999999996</c:v>
                </c:pt>
                <c:pt idx="1233">
                  <c:v>4.7750000000000004</c:v>
                </c:pt>
                <c:pt idx="1234">
                  <c:v>4.5250000000000004</c:v>
                </c:pt>
                <c:pt idx="1235">
                  <c:v>4.3250000000000002</c:v>
                </c:pt>
                <c:pt idx="1236">
                  <c:v>3.8</c:v>
                </c:pt>
                <c:pt idx="1237">
                  <c:v>3.125</c:v>
                </c:pt>
                <c:pt idx="1238">
                  <c:v>3.55</c:v>
                </c:pt>
                <c:pt idx="1239">
                  <c:v>3.55</c:v>
                </c:pt>
                <c:pt idx="1240">
                  <c:v>3.55</c:v>
                </c:pt>
                <c:pt idx="1241">
                  <c:v>3.7</c:v>
                </c:pt>
                <c:pt idx="1242">
                  <c:v>4.0250000000000004</c:v>
                </c:pt>
                <c:pt idx="1243">
                  <c:v>3.5249999999999999</c:v>
                </c:pt>
                <c:pt idx="1244">
                  <c:v>3.35</c:v>
                </c:pt>
                <c:pt idx="1245">
                  <c:v>3.5</c:v>
                </c:pt>
                <c:pt idx="1246">
                  <c:v>3.5</c:v>
                </c:pt>
                <c:pt idx="1247">
                  <c:v>3.5</c:v>
                </c:pt>
                <c:pt idx="1248">
                  <c:v>3.5750000000000002</c:v>
                </c:pt>
                <c:pt idx="1249">
                  <c:v>4.3499999999999996</c:v>
                </c:pt>
                <c:pt idx="1250">
                  <c:v>4.8499999999999996</c:v>
                </c:pt>
                <c:pt idx="1251">
                  <c:v>4.5750000000000002</c:v>
                </c:pt>
                <c:pt idx="1252">
                  <c:v>4.6500000000000004</c:v>
                </c:pt>
                <c:pt idx="1253">
                  <c:v>4.6500000000000004</c:v>
                </c:pt>
                <c:pt idx="1254">
                  <c:v>4.875</c:v>
                </c:pt>
                <c:pt idx="1255">
                  <c:v>5</c:v>
                </c:pt>
                <c:pt idx="1256">
                  <c:v>4.7750000000000004</c:v>
                </c:pt>
                <c:pt idx="1257">
                  <c:v>4.625</c:v>
                </c:pt>
                <c:pt idx="1258">
                  <c:v>4.75</c:v>
                </c:pt>
                <c:pt idx="1259">
                  <c:v>4.75</c:v>
                </c:pt>
                <c:pt idx="1260">
                  <c:v>4.75</c:v>
                </c:pt>
                <c:pt idx="1261">
                  <c:v>4.95</c:v>
                </c:pt>
                <c:pt idx="1262">
                  <c:v>5.4</c:v>
                </c:pt>
                <c:pt idx="1263">
                  <c:v>5.0999999999999996</c:v>
                </c:pt>
                <c:pt idx="1264">
                  <c:v>5.0250000000000004</c:v>
                </c:pt>
                <c:pt idx="1265">
                  <c:v>5.2</c:v>
                </c:pt>
                <c:pt idx="1266">
                  <c:v>5.3250000000000002</c:v>
                </c:pt>
                <c:pt idx="1267">
                  <c:v>5.3250000000000002</c:v>
                </c:pt>
                <c:pt idx="1268">
                  <c:v>5.4749999999999996</c:v>
                </c:pt>
                <c:pt idx="1269">
                  <c:v>5.3250000000000002</c:v>
                </c:pt>
                <c:pt idx="1270">
                  <c:v>5.8</c:v>
                </c:pt>
                <c:pt idx="1271">
                  <c:v>5.625</c:v>
                </c:pt>
                <c:pt idx="1272">
                  <c:v>5.0250000000000004</c:v>
                </c:pt>
                <c:pt idx="1273">
                  <c:v>4.8499999999999996</c:v>
                </c:pt>
                <c:pt idx="1274">
                  <c:v>4.8499999999999996</c:v>
                </c:pt>
                <c:pt idx="1275">
                  <c:v>4.9749999999999996</c:v>
                </c:pt>
                <c:pt idx="1276">
                  <c:v>5.65</c:v>
                </c:pt>
                <c:pt idx="1277">
                  <c:v>5.55</c:v>
                </c:pt>
                <c:pt idx="1278">
                  <c:v>5.6</c:v>
                </c:pt>
                <c:pt idx="1279">
                  <c:v>5.15</c:v>
                </c:pt>
                <c:pt idx="1280">
                  <c:v>4.6749999999999998</c:v>
                </c:pt>
                <c:pt idx="1281">
                  <c:v>4.6749999999999998</c:v>
                </c:pt>
                <c:pt idx="1282">
                  <c:v>4.7750000000000004</c:v>
                </c:pt>
                <c:pt idx="1283">
                  <c:v>5.4249999999999998</c:v>
                </c:pt>
                <c:pt idx="1284">
                  <c:v>5.5</c:v>
                </c:pt>
                <c:pt idx="1285">
                  <c:v>5.3</c:v>
                </c:pt>
                <c:pt idx="1286">
                  <c:v>4.8</c:v>
                </c:pt>
                <c:pt idx="1287">
                  <c:v>4.7249999999999996</c:v>
                </c:pt>
                <c:pt idx="1288">
                  <c:v>4.7249999999999996</c:v>
                </c:pt>
                <c:pt idx="1289">
                  <c:v>4.75</c:v>
                </c:pt>
                <c:pt idx="1290">
                  <c:v>4.3499999999999996</c:v>
                </c:pt>
                <c:pt idx="1291">
                  <c:v>4.2</c:v>
                </c:pt>
                <c:pt idx="1292">
                  <c:v>4.7</c:v>
                </c:pt>
                <c:pt idx="1293">
                  <c:v>4.3499999999999996</c:v>
                </c:pt>
                <c:pt idx="1294">
                  <c:v>4.9000000000000004</c:v>
                </c:pt>
                <c:pt idx="1295">
                  <c:v>4.9000000000000004</c:v>
                </c:pt>
                <c:pt idx="1296">
                  <c:v>4.9000000000000004</c:v>
                </c:pt>
                <c:pt idx="1297">
                  <c:v>4.4249999999999998</c:v>
                </c:pt>
                <c:pt idx="1298">
                  <c:v>4.6500000000000004</c:v>
                </c:pt>
                <c:pt idx="1299">
                  <c:v>4.8</c:v>
                </c:pt>
                <c:pt idx="1300">
                  <c:v>4.8250000000000002</c:v>
                </c:pt>
                <c:pt idx="1301">
                  <c:v>4.5999999999999996</c:v>
                </c:pt>
                <c:pt idx="1302">
                  <c:v>4.5999999999999996</c:v>
                </c:pt>
                <c:pt idx="1303">
                  <c:v>4.6500000000000004</c:v>
                </c:pt>
                <c:pt idx="1304">
                  <c:v>4.3250000000000002</c:v>
                </c:pt>
                <c:pt idx="1305">
                  <c:v>4.5750000000000002</c:v>
                </c:pt>
                <c:pt idx="1306">
                  <c:v>4.9000000000000004</c:v>
                </c:pt>
                <c:pt idx="1307">
                  <c:v>4.9000000000000004</c:v>
                </c:pt>
                <c:pt idx="1308">
                  <c:v>5.0999999999999996</c:v>
                </c:pt>
                <c:pt idx="1309">
                  <c:v>5.0999999999999996</c:v>
                </c:pt>
                <c:pt idx="1310">
                  <c:v>5.1749999999999998</c:v>
                </c:pt>
                <c:pt idx="1311">
                  <c:v>6.5</c:v>
                </c:pt>
                <c:pt idx="1312">
                  <c:v>6.5750000000000002</c:v>
                </c:pt>
                <c:pt idx="1313">
                  <c:v>6.625</c:v>
                </c:pt>
                <c:pt idx="1314">
                  <c:v>6.95</c:v>
                </c:pt>
                <c:pt idx="1315">
                  <c:v>7</c:v>
                </c:pt>
                <c:pt idx="1316">
                  <c:v>7</c:v>
                </c:pt>
                <c:pt idx="1317">
                  <c:v>7.05</c:v>
                </c:pt>
                <c:pt idx="1318">
                  <c:v>6.9</c:v>
                </c:pt>
                <c:pt idx="1319">
                  <c:v>6.58</c:v>
                </c:pt>
                <c:pt idx="1320">
                  <c:v>6.2750000000000004</c:v>
                </c:pt>
                <c:pt idx="1321">
                  <c:v>6.7249999999999996</c:v>
                </c:pt>
                <c:pt idx="1322">
                  <c:v>7.1</c:v>
                </c:pt>
                <c:pt idx="1323">
                  <c:v>7.1</c:v>
                </c:pt>
                <c:pt idx="1324">
                  <c:v>7.05</c:v>
                </c:pt>
                <c:pt idx="1325">
                  <c:v>7.5</c:v>
                </c:pt>
                <c:pt idx="1326">
                  <c:v>8.2249999999999996</c:v>
                </c:pt>
                <c:pt idx="1327">
                  <c:v>7.85</c:v>
                </c:pt>
                <c:pt idx="1328">
                  <c:v>7.2750000000000004</c:v>
                </c:pt>
                <c:pt idx="1329">
                  <c:v>6.2249999999999996</c:v>
                </c:pt>
                <c:pt idx="1330">
                  <c:v>6.2249999999999996</c:v>
                </c:pt>
                <c:pt idx="1331">
                  <c:v>6.55</c:v>
                </c:pt>
                <c:pt idx="1332">
                  <c:v>7.9249999999999998</c:v>
                </c:pt>
                <c:pt idx="1333">
                  <c:v>8.5250000000000004</c:v>
                </c:pt>
                <c:pt idx="1334">
                  <c:v>8.85</c:v>
                </c:pt>
                <c:pt idx="1335">
                  <c:v>8.75</c:v>
                </c:pt>
                <c:pt idx="1336">
                  <c:v>9.5749999999999993</c:v>
                </c:pt>
                <c:pt idx="1337">
                  <c:v>9.5749999999999993</c:v>
                </c:pt>
                <c:pt idx="1338">
                  <c:v>9.5749999999999993</c:v>
                </c:pt>
                <c:pt idx="1339">
                  <c:v>9.875</c:v>
                </c:pt>
                <c:pt idx="1340">
                  <c:v>10.775</c:v>
                </c:pt>
                <c:pt idx="1341">
                  <c:v>10.45</c:v>
                </c:pt>
                <c:pt idx="1342">
                  <c:v>11.175000000000001</c:v>
                </c:pt>
                <c:pt idx="1343">
                  <c:v>11.55</c:v>
                </c:pt>
                <c:pt idx="1344">
                  <c:v>11.55</c:v>
                </c:pt>
                <c:pt idx="1345">
                  <c:v>11.625</c:v>
                </c:pt>
                <c:pt idx="1346">
                  <c:v>11.1</c:v>
                </c:pt>
                <c:pt idx="1347">
                  <c:v>11.025</c:v>
                </c:pt>
                <c:pt idx="1348">
                  <c:v>10.775</c:v>
                </c:pt>
                <c:pt idx="1349">
                  <c:v>10.45</c:v>
                </c:pt>
                <c:pt idx="1350">
                  <c:v>10.050000000000001</c:v>
                </c:pt>
                <c:pt idx="1351">
                  <c:v>10.050000000000001</c:v>
                </c:pt>
                <c:pt idx="1352">
                  <c:v>10.475</c:v>
                </c:pt>
                <c:pt idx="1353">
                  <c:v>10.425000000000001</c:v>
                </c:pt>
                <c:pt idx="1354">
                  <c:v>10.574999999999999</c:v>
                </c:pt>
                <c:pt idx="1355">
                  <c:v>11.15</c:v>
                </c:pt>
                <c:pt idx="1356">
                  <c:v>11.1</c:v>
                </c:pt>
                <c:pt idx="1357">
                  <c:v>10.8</c:v>
                </c:pt>
                <c:pt idx="1358">
                  <c:v>10.8</c:v>
                </c:pt>
                <c:pt idx="1359">
                  <c:v>10.9</c:v>
                </c:pt>
                <c:pt idx="1360">
                  <c:v>11.4</c:v>
                </c:pt>
                <c:pt idx="1361">
                  <c:v>11.4</c:v>
                </c:pt>
                <c:pt idx="1362">
                  <c:v>11.65</c:v>
                </c:pt>
                <c:pt idx="1363">
                  <c:v>11.425000000000001</c:v>
                </c:pt>
                <c:pt idx="1364">
                  <c:v>11.45</c:v>
                </c:pt>
                <c:pt idx="1365">
                  <c:v>11.45</c:v>
                </c:pt>
                <c:pt idx="1366">
                  <c:v>11.574999999999999</c:v>
                </c:pt>
                <c:pt idx="1367">
                  <c:v>12.4</c:v>
                </c:pt>
                <c:pt idx="1368">
                  <c:v>12.074999999999999</c:v>
                </c:pt>
                <c:pt idx="1369">
                  <c:v>12.425000000000001</c:v>
                </c:pt>
                <c:pt idx="1370">
                  <c:v>12</c:v>
                </c:pt>
                <c:pt idx="1371">
                  <c:v>12.05</c:v>
                </c:pt>
                <c:pt idx="1372">
                  <c:v>12.05</c:v>
                </c:pt>
                <c:pt idx="1373">
                  <c:v>12.2</c:v>
                </c:pt>
                <c:pt idx="1374">
                  <c:v>13.15</c:v>
                </c:pt>
                <c:pt idx="1375">
                  <c:v>12.75</c:v>
                </c:pt>
                <c:pt idx="1376">
                  <c:v>13.45</c:v>
                </c:pt>
                <c:pt idx="1377">
                  <c:v>13.675000000000001</c:v>
                </c:pt>
                <c:pt idx="1378">
                  <c:v>13.824999999999999</c:v>
                </c:pt>
                <c:pt idx="1379">
                  <c:v>13.824999999999999</c:v>
                </c:pt>
                <c:pt idx="1380">
                  <c:v>13.824999999999999</c:v>
                </c:pt>
                <c:pt idx="1381">
                  <c:v>13.8</c:v>
                </c:pt>
                <c:pt idx="1382">
                  <c:v>13.4</c:v>
                </c:pt>
                <c:pt idx="1383">
                  <c:v>13.9</c:v>
                </c:pt>
                <c:pt idx="1384">
                  <c:v>14.4</c:v>
                </c:pt>
                <c:pt idx="1385">
                  <c:v>14.7</c:v>
                </c:pt>
                <c:pt idx="1386">
                  <c:v>14.7</c:v>
                </c:pt>
                <c:pt idx="1387">
                  <c:v>14.875</c:v>
                </c:pt>
                <c:pt idx="1388">
                  <c:v>15</c:v>
                </c:pt>
                <c:pt idx="1389">
                  <c:v>14.7</c:v>
                </c:pt>
                <c:pt idx="1390">
                  <c:v>14.8</c:v>
                </c:pt>
                <c:pt idx="1391">
                  <c:v>15.324999999999999</c:v>
                </c:pt>
                <c:pt idx="1392">
                  <c:v>14.95</c:v>
                </c:pt>
                <c:pt idx="1393">
                  <c:v>14.95</c:v>
                </c:pt>
                <c:pt idx="1394">
                  <c:v>15.324999999999999</c:v>
                </c:pt>
                <c:pt idx="1395">
                  <c:v>14.85</c:v>
                </c:pt>
                <c:pt idx="1396">
                  <c:v>14.8</c:v>
                </c:pt>
                <c:pt idx="1397">
                  <c:v>14.175000000000001</c:v>
                </c:pt>
                <c:pt idx="1398">
                  <c:v>13.85</c:v>
                </c:pt>
                <c:pt idx="1399">
                  <c:v>13.25</c:v>
                </c:pt>
                <c:pt idx="1400">
                  <c:v>13.25</c:v>
                </c:pt>
                <c:pt idx="1401">
                  <c:v>13.3</c:v>
                </c:pt>
                <c:pt idx="1402">
                  <c:v>13.1</c:v>
                </c:pt>
                <c:pt idx="1403">
                  <c:v>13.775</c:v>
                </c:pt>
                <c:pt idx="1404">
                  <c:v>13.8</c:v>
                </c:pt>
                <c:pt idx="1405">
                  <c:v>14.35</c:v>
                </c:pt>
                <c:pt idx="1406">
                  <c:v>13.3</c:v>
                </c:pt>
                <c:pt idx="1407">
                  <c:v>13.3</c:v>
                </c:pt>
                <c:pt idx="1408">
                  <c:v>13.375</c:v>
                </c:pt>
                <c:pt idx="1409">
                  <c:v>13.85</c:v>
                </c:pt>
                <c:pt idx="1410">
                  <c:v>14.05</c:v>
                </c:pt>
                <c:pt idx="1411">
                  <c:v>13.975</c:v>
                </c:pt>
                <c:pt idx="1412">
                  <c:v>13.875</c:v>
                </c:pt>
                <c:pt idx="1413">
                  <c:v>13.9625</c:v>
                </c:pt>
                <c:pt idx="1414">
                  <c:v>13.9625</c:v>
                </c:pt>
                <c:pt idx="1415">
                  <c:v>13.9</c:v>
                </c:pt>
                <c:pt idx="1416">
                  <c:v>14.15</c:v>
                </c:pt>
                <c:pt idx="1417">
                  <c:v>13.574999999999999</c:v>
                </c:pt>
                <c:pt idx="1418">
                  <c:v>13.175000000000001</c:v>
                </c:pt>
                <c:pt idx="1419">
                  <c:v>12.85</c:v>
                </c:pt>
                <c:pt idx="1420">
                  <c:v>12.625</c:v>
                </c:pt>
                <c:pt idx="1421">
                  <c:v>12.625</c:v>
                </c:pt>
                <c:pt idx="1422">
                  <c:v>12.7</c:v>
                </c:pt>
                <c:pt idx="1423">
                  <c:v>13.525</c:v>
                </c:pt>
                <c:pt idx="1424">
                  <c:v>13.875</c:v>
                </c:pt>
                <c:pt idx="1425">
                  <c:v>13.975</c:v>
                </c:pt>
                <c:pt idx="1426">
                  <c:v>14.125</c:v>
                </c:pt>
                <c:pt idx="1427">
                  <c:v>14.55</c:v>
                </c:pt>
                <c:pt idx="1428">
                  <c:v>14.55</c:v>
                </c:pt>
                <c:pt idx="1429">
                  <c:v>14.525</c:v>
                </c:pt>
                <c:pt idx="1430">
                  <c:v>15.125</c:v>
                </c:pt>
                <c:pt idx="1431">
                  <c:v>14.975</c:v>
                </c:pt>
                <c:pt idx="1432">
                  <c:v>14.85</c:v>
                </c:pt>
                <c:pt idx="1433">
                  <c:v>13.975</c:v>
                </c:pt>
                <c:pt idx="1434">
                  <c:v>14.675000000000001</c:v>
                </c:pt>
                <c:pt idx="1435">
                  <c:v>14.675000000000001</c:v>
                </c:pt>
                <c:pt idx="1436">
                  <c:v>14.625</c:v>
                </c:pt>
                <c:pt idx="1437">
                  <c:v>14.25</c:v>
                </c:pt>
                <c:pt idx="1438">
                  <c:v>14.425000000000001</c:v>
                </c:pt>
                <c:pt idx="1439">
                  <c:v>14.824999999999999</c:v>
                </c:pt>
                <c:pt idx="1440">
                  <c:v>15.574999999999999</c:v>
                </c:pt>
                <c:pt idx="1441">
                  <c:v>16.024999999999999</c:v>
                </c:pt>
                <c:pt idx="1442">
                  <c:v>16.024999999999999</c:v>
                </c:pt>
                <c:pt idx="1443">
                  <c:v>15.975</c:v>
                </c:pt>
                <c:pt idx="1444">
                  <c:v>16.725000000000001</c:v>
                </c:pt>
                <c:pt idx="1445">
                  <c:v>17.2</c:v>
                </c:pt>
                <c:pt idx="1446">
                  <c:v>16.149999999999999</c:v>
                </c:pt>
                <c:pt idx="1447">
                  <c:v>15.775</c:v>
                </c:pt>
                <c:pt idx="1448">
                  <c:v>15.6</c:v>
                </c:pt>
                <c:pt idx="1449">
                  <c:v>15.6</c:v>
                </c:pt>
                <c:pt idx="1450">
                  <c:v>15.65</c:v>
                </c:pt>
                <c:pt idx="1451">
                  <c:v>16.850000000000001</c:v>
                </c:pt>
                <c:pt idx="1452">
                  <c:v>17.475000000000001</c:v>
                </c:pt>
                <c:pt idx="1453">
                  <c:v>17.125</c:v>
                </c:pt>
                <c:pt idx="1454">
                  <c:v>17.75</c:v>
                </c:pt>
                <c:pt idx="1455">
                  <c:v>17.75</c:v>
                </c:pt>
                <c:pt idx="1456">
                  <c:v>17.75</c:v>
                </c:pt>
                <c:pt idx="1457">
                  <c:v>17.75</c:v>
                </c:pt>
                <c:pt idx="1458">
                  <c:v>17.7</c:v>
                </c:pt>
                <c:pt idx="1459">
                  <c:v>19.2</c:v>
                </c:pt>
                <c:pt idx="1460">
                  <c:v>18.95</c:v>
                </c:pt>
                <c:pt idx="1461">
                  <c:v>18.925000000000001</c:v>
                </c:pt>
                <c:pt idx="1462">
                  <c:v>18.925000000000001</c:v>
                </c:pt>
                <c:pt idx="1463">
                  <c:v>18.925000000000001</c:v>
                </c:pt>
                <c:pt idx="1464">
                  <c:v>19.149999999999999</c:v>
                </c:pt>
                <c:pt idx="1465">
                  <c:v>19.875</c:v>
                </c:pt>
                <c:pt idx="1466">
                  <c:v>17.95</c:v>
                </c:pt>
                <c:pt idx="1467">
                  <c:v>17.600000000000001</c:v>
                </c:pt>
                <c:pt idx="1468">
                  <c:v>19.600000000000001</c:v>
                </c:pt>
                <c:pt idx="1469">
                  <c:v>20.425000000000001</c:v>
                </c:pt>
                <c:pt idx="1470">
                  <c:v>20.425000000000001</c:v>
                </c:pt>
                <c:pt idx="1471">
                  <c:v>20.350000000000001</c:v>
                </c:pt>
                <c:pt idx="1472">
                  <c:v>22.175000000000001</c:v>
                </c:pt>
                <c:pt idx="1473">
                  <c:v>26.5</c:v>
                </c:pt>
                <c:pt idx="1474">
                  <c:v>21.85</c:v>
                </c:pt>
                <c:pt idx="1475">
                  <c:v>21.375</c:v>
                </c:pt>
                <c:pt idx="1476">
                  <c:v>20.375</c:v>
                </c:pt>
                <c:pt idx="1477">
                  <c:v>20.375</c:v>
                </c:pt>
                <c:pt idx="1478">
                  <c:v>20.274999999999999</c:v>
                </c:pt>
                <c:pt idx="1479">
                  <c:v>19.125</c:v>
                </c:pt>
                <c:pt idx="1480">
                  <c:v>20.175000000000001</c:v>
                </c:pt>
                <c:pt idx="1481">
                  <c:v>19.975000000000001</c:v>
                </c:pt>
                <c:pt idx="1482">
                  <c:v>19.75</c:v>
                </c:pt>
                <c:pt idx="1483">
                  <c:v>21.55</c:v>
                </c:pt>
                <c:pt idx="1484">
                  <c:v>21.55</c:v>
                </c:pt>
                <c:pt idx="1485">
                  <c:v>21.574999999999999</c:v>
                </c:pt>
                <c:pt idx="1486">
                  <c:v>20.149999999999999</c:v>
                </c:pt>
                <c:pt idx="1487">
                  <c:v>19.55</c:v>
                </c:pt>
                <c:pt idx="1488">
                  <c:v>19.675000000000001</c:v>
                </c:pt>
                <c:pt idx="1489">
                  <c:v>20.8</c:v>
                </c:pt>
                <c:pt idx="1490">
                  <c:v>20.100000000000001</c:v>
                </c:pt>
                <c:pt idx="1491">
                  <c:v>20.100000000000001</c:v>
                </c:pt>
                <c:pt idx="1492">
                  <c:v>19.95</c:v>
                </c:pt>
                <c:pt idx="1493">
                  <c:v>18.05</c:v>
                </c:pt>
                <c:pt idx="1494">
                  <c:v>18.024999999999999</c:v>
                </c:pt>
                <c:pt idx="1495">
                  <c:v>17.925000000000001</c:v>
                </c:pt>
                <c:pt idx="1496">
                  <c:v>18.05</c:v>
                </c:pt>
                <c:pt idx="1497">
                  <c:v>18.100000000000001</c:v>
                </c:pt>
                <c:pt idx="1498">
                  <c:v>18.100000000000001</c:v>
                </c:pt>
                <c:pt idx="1499">
                  <c:v>18.3</c:v>
                </c:pt>
                <c:pt idx="1500">
                  <c:v>20.6</c:v>
                </c:pt>
                <c:pt idx="1501">
                  <c:v>19.824999999999999</c:v>
                </c:pt>
                <c:pt idx="1502">
                  <c:v>19.2</c:v>
                </c:pt>
                <c:pt idx="1503">
                  <c:v>18.05</c:v>
                </c:pt>
                <c:pt idx="1504">
                  <c:v>17.600000000000001</c:v>
                </c:pt>
                <c:pt idx="1505">
                  <c:v>17.600000000000001</c:v>
                </c:pt>
                <c:pt idx="1506">
                  <c:v>17.625</c:v>
                </c:pt>
                <c:pt idx="1507">
                  <c:v>16.324999999999999</c:v>
                </c:pt>
                <c:pt idx="1508">
                  <c:v>16.625</c:v>
                </c:pt>
                <c:pt idx="1509">
                  <c:v>16.45</c:v>
                </c:pt>
                <c:pt idx="1510">
                  <c:v>17</c:v>
                </c:pt>
                <c:pt idx="1511">
                  <c:v>16.324999999999999</c:v>
                </c:pt>
                <c:pt idx="1512">
                  <c:v>16.324999999999999</c:v>
                </c:pt>
                <c:pt idx="1513">
                  <c:v>16.399999999999999</c:v>
                </c:pt>
                <c:pt idx="1514">
                  <c:v>15.824999999999999</c:v>
                </c:pt>
                <c:pt idx="1515">
                  <c:v>15.9</c:v>
                </c:pt>
                <c:pt idx="1516">
                  <c:v>16.2</c:v>
                </c:pt>
                <c:pt idx="1517">
                  <c:v>15.875</c:v>
                </c:pt>
                <c:pt idx="1518">
                  <c:v>15.7</c:v>
                </c:pt>
                <c:pt idx="1519">
                  <c:v>15.7</c:v>
                </c:pt>
                <c:pt idx="1520">
                  <c:v>15.824999999999999</c:v>
                </c:pt>
                <c:pt idx="1521">
                  <c:v>16.425000000000001</c:v>
                </c:pt>
                <c:pt idx="1522">
                  <c:v>16.125</c:v>
                </c:pt>
                <c:pt idx="1523">
                  <c:v>15.9625</c:v>
                </c:pt>
                <c:pt idx="1524">
                  <c:v>16.399999999999999</c:v>
                </c:pt>
                <c:pt idx="1525">
                  <c:v>16.600000000000001</c:v>
                </c:pt>
                <c:pt idx="1526">
                  <c:v>16.600000000000001</c:v>
                </c:pt>
                <c:pt idx="1527">
                  <c:v>16.7</c:v>
                </c:pt>
                <c:pt idx="1528">
                  <c:v>16.774999999999999</c:v>
                </c:pt>
                <c:pt idx="1529">
                  <c:v>17.149999999999999</c:v>
                </c:pt>
                <c:pt idx="1530">
                  <c:v>17.7</c:v>
                </c:pt>
                <c:pt idx="1531">
                  <c:v>18.037500000000001</c:v>
                </c:pt>
                <c:pt idx="1532">
                  <c:v>18.524999999999999</c:v>
                </c:pt>
                <c:pt idx="1533">
                  <c:v>18.524999999999999</c:v>
                </c:pt>
                <c:pt idx="1534">
                  <c:v>18.600000000000001</c:v>
                </c:pt>
                <c:pt idx="1535">
                  <c:v>18.399999999999999</c:v>
                </c:pt>
                <c:pt idx="1536">
                  <c:v>17.925000000000001</c:v>
                </c:pt>
                <c:pt idx="1537">
                  <c:v>18.600000000000001</c:v>
                </c:pt>
                <c:pt idx="1538">
                  <c:v>17.7</c:v>
                </c:pt>
                <c:pt idx="1539">
                  <c:v>17.649999999999999</c:v>
                </c:pt>
                <c:pt idx="1540">
                  <c:v>17.649999999999999</c:v>
                </c:pt>
                <c:pt idx="1541">
                  <c:v>17.774999999999999</c:v>
                </c:pt>
                <c:pt idx="1542">
                  <c:v>18.524999999999999</c:v>
                </c:pt>
                <c:pt idx="1543">
                  <c:v>18.5</c:v>
                </c:pt>
                <c:pt idx="1544">
                  <c:v>18.725000000000001</c:v>
                </c:pt>
                <c:pt idx="1545">
                  <c:v>18.100000000000001</c:v>
                </c:pt>
                <c:pt idx="1546">
                  <c:v>18.55</c:v>
                </c:pt>
                <c:pt idx="1547">
                  <c:v>18.55</c:v>
                </c:pt>
                <c:pt idx="1548">
                  <c:v>18.5</c:v>
                </c:pt>
                <c:pt idx="1549">
                  <c:v>18.274999999999999</c:v>
                </c:pt>
                <c:pt idx="1550">
                  <c:v>18.7</c:v>
                </c:pt>
                <c:pt idx="1551">
                  <c:v>19.2</c:v>
                </c:pt>
                <c:pt idx="1552">
                  <c:v>19.175000000000001</c:v>
                </c:pt>
                <c:pt idx="1553">
                  <c:v>19.175000000000001</c:v>
                </c:pt>
                <c:pt idx="1554">
                  <c:v>19.175000000000001</c:v>
                </c:pt>
                <c:pt idx="1555">
                  <c:v>19.175000000000001</c:v>
                </c:pt>
                <c:pt idx="1556">
                  <c:v>19.125</c:v>
                </c:pt>
                <c:pt idx="1557">
                  <c:v>20.399999999999999</c:v>
                </c:pt>
                <c:pt idx="1558">
                  <c:v>20.024999999999999</c:v>
                </c:pt>
                <c:pt idx="1559">
                  <c:v>19.55</c:v>
                </c:pt>
                <c:pt idx="1560">
                  <c:v>19.3</c:v>
                </c:pt>
                <c:pt idx="1561">
                  <c:v>19.3</c:v>
                </c:pt>
                <c:pt idx="1562">
                  <c:v>19.475000000000001</c:v>
                </c:pt>
                <c:pt idx="1563">
                  <c:v>20.725000000000001</c:v>
                </c:pt>
                <c:pt idx="1564">
                  <c:v>20.3</c:v>
                </c:pt>
                <c:pt idx="1565">
                  <c:v>20.399999999999999</c:v>
                </c:pt>
                <c:pt idx="1566">
                  <c:v>20.774999999999999</c:v>
                </c:pt>
                <c:pt idx="1567">
                  <c:v>21.15</c:v>
                </c:pt>
                <c:pt idx="1568">
                  <c:v>21.15</c:v>
                </c:pt>
                <c:pt idx="1569">
                  <c:v>21.05</c:v>
                </c:pt>
                <c:pt idx="1570">
                  <c:v>21.5</c:v>
                </c:pt>
                <c:pt idx="1571">
                  <c:v>21.475000000000001</c:v>
                </c:pt>
                <c:pt idx="1572">
                  <c:v>21.375</c:v>
                </c:pt>
                <c:pt idx="1573">
                  <c:v>21.7</c:v>
                </c:pt>
                <c:pt idx="1574">
                  <c:v>20.05</c:v>
                </c:pt>
                <c:pt idx="1575">
                  <c:v>20.05</c:v>
                </c:pt>
                <c:pt idx="1576">
                  <c:v>20.149999999999999</c:v>
                </c:pt>
                <c:pt idx="1577">
                  <c:v>20.4375</c:v>
                </c:pt>
                <c:pt idx="1578">
                  <c:v>21.85</c:v>
                </c:pt>
                <c:pt idx="1579">
                  <c:v>21.9</c:v>
                </c:pt>
                <c:pt idx="1580">
                  <c:v>22.7</c:v>
                </c:pt>
                <c:pt idx="1581">
                  <c:v>23.6</c:v>
                </c:pt>
                <c:pt idx="1582">
                  <c:v>23.6</c:v>
                </c:pt>
                <c:pt idx="1583">
                  <c:v>23.6</c:v>
                </c:pt>
                <c:pt idx="1584">
                  <c:v>23.425000000000001</c:v>
                </c:pt>
                <c:pt idx="1585">
                  <c:v>23.975000000000001</c:v>
                </c:pt>
                <c:pt idx="1586">
                  <c:v>25</c:v>
                </c:pt>
                <c:pt idx="1587">
                  <c:v>25</c:v>
                </c:pt>
                <c:pt idx="1588">
                  <c:v>24.175000000000001</c:v>
                </c:pt>
                <c:pt idx="1589">
                  <c:v>24.175000000000001</c:v>
                </c:pt>
                <c:pt idx="1590">
                  <c:v>24.15</c:v>
                </c:pt>
                <c:pt idx="1591">
                  <c:v>25.35</c:v>
                </c:pt>
                <c:pt idx="1592">
                  <c:v>26.05</c:v>
                </c:pt>
                <c:pt idx="1593">
                  <c:v>26.05</c:v>
                </c:pt>
                <c:pt idx="1594">
                  <c:v>26.375</c:v>
                </c:pt>
                <c:pt idx="1595">
                  <c:v>27.324999999999999</c:v>
                </c:pt>
                <c:pt idx="1596">
                  <c:v>27.324999999999999</c:v>
                </c:pt>
                <c:pt idx="1597">
                  <c:v>27.324999999999999</c:v>
                </c:pt>
                <c:pt idx="1598">
                  <c:v>26.975000000000001</c:v>
                </c:pt>
                <c:pt idx="1599">
                  <c:v>25.574999999999999</c:v>
                </c:pt>
                <c:pt idx="1600">
                  <c:v>23.2</c:v>
                </c:pt>
                <c:pt idx="1601">
                  <c:v>24.8</c:v>
                </c:pt>
                <c:pt idx="1602">
                  <c:v>24.725000000000001</c:v>
                </c:pt>
                <c:pt idx="1603">
                  <c:v>24.725000000000001</c:v>
                </c:pt>
                <c:pt idx="1604">
                  <c:v>24.8</c:v>
                </c:pt>
                <c:pt idx="1605">
                  <c:v>24.824999999999999</c:v>
                </c:pt>
                <c:pt idx="1606">
                  <c:v>26.324999999999999</c:v>
                </c:pt>
                <c:pt idx="1607">
                  <c:v>26.774999999999999</c:v>
                </c:pt>
                <c:pt idx="1608">
                  <c:v>25.425000000000001</c:v>
                </c:pt>
                <c:pt idx="1609">
                  <c:v>24.9</c:v>
                </c:pt>
                <c:pt idx="1610">
                  <c:v>24.9</c:v>
                </c:pt>
                <c:pt idx="1611">
                  <c:v>24.9</c:v>
                </c:pt>
                <c:pt idx="1612">
                  <c:v>25.324999999999999</c:v>
                </c:pt>
                <c:pt idx="1613">
                  <c:v>26.125</c:v>
                </c:pt>
                <c:pt idx="1614">
                  <c:v>25.462499999999999</c:v>
                </c:pt>
                <c:pt idx="1615">
                  <c:v>26.024999999999999</c:v>
                </c:pt>
                <c:pt idx="1616">
                  <c:v>25.774999999999999</c:v>
                </c:pt>
                <c:pt idx="1617">
                  <c:v>25.774999999999999</c:v>
                </c:pt>
                <c:pt idx="1618">
                  <c:v>25.85</c:v>
                </c:pt>
                <c:pt idx="1619">
                  <c:v>26.7</c:v>
                </c:pt>
                <c:pt idx="1620">
                  <c:v>28.425000000000001</c:v>
                </c:pt>
                <c:pt idx="1621">
                  <c:v>28</c:v>
                </c:pt>
                <c:pt idx="1622">
                  <c:v>28.324999999999999</c:v>
                </c:pt>
                <c:pt idx="1623">
                  <c:v>27.824999999999999</c:v>
                </c:pt>
                <c:pt idx="1624">
                  <c:v>27.824999999999999</c:v>
                </c:pt>
                <c:pt idx="1625">
                  <c:v>27.9</c:v>
                </c:pt>
                <c:pt idx="1626">
                  <c:v>28.875</c:v>
                </c:pt>
                <c:pt idx="1627">
                  <c:v>28.15</c:v>
                </c:pt>
                <c:pt idx="1628">
                  <c:v>28.25</c:v>
                </c:pt>
                <c:pt idx="1629">
                  <c:v>28.55</c:v>
                </c:pt>
                <c:pt idx="1630">
                  <c:v>29.5</c:v>
                </c:pt>
                <c:pt idx="1631">
                  <c:v>29.5</c:v>
                </c:pt>
                <c:pt idx="1632">
                  <c:v>29.55</c:v>
                </c:pt>
                <c:pt idx="1633">
                  <c:v>29.9</c:v>
                </c:pt>
                <c:pt idx="1634">
                  <c:v>31.25</c:v>
                </c:pt>
                <c:pt idx="1635">
                  <c:v>32.024999999999999</c:v>
                </c:pt>
                <c:pt idx="1636">
                  <c:v>31.975000000000001</c:v>
                </c:pt>
                <c:pt idx="1637">
                  <c:v>32.075000000000003</c:v>
                </c:pt>
                <c:pt idx="1638">
                  <c:v>32.075000000000003</c:v>
                </c:pt>
                <c:pt idx="1639">
                  <c:v>32.200000000000003</c:v>
                </c:pt>
                <c:pt idx="1640">
                  <c:v>32.25</c:v>
                </c:pt>
                <c:pt idx="1641">
                  <c:v>33.65</c:v>
                </c:pt>
                <c:pt idx="1642">
                  <c:v>35.475000000000001</c:v>
                </c:pt>
                <c:pt idx="1643">
                  <c:v>36.674999999999997</c:v>
                </c:pt>
                <c:pt idx="1644">
                  <c:v>36.1</c:v>
                </c:pt>
                <c:pt idx="1645">
                  <c:v>36.1</c:v>
                </c:pt>
                <c:pt idx="1646">
                  <c:v>36.299999999999997</c:v>
                </c:pt>
                <c:pt idx="1647">
                  <c:v>37.799999999999997</c:v>
                </c:pt>
                <c:pt idx="1648">
                  <c:v>34</c:v>
                </c:pt>
                <c:pt idx="1649">
                  <c:v>32.700000000000003</c:v>
                </c:pt>
                <c:pt idx="1650">
                  <c:v>34.024999999999999</c:v>
                </c:pt>
                <c:pt idx="1651">
                  <c:v>36.700000000000003</c:v>
                </c:pt>
                <c:pt idx="1652">
                  <c:v>36.700000000000003</c:v>
                </c:pt>
                <c:pt idx="1653">
                  <c:v>36.875</c:v>
                </c:pt>
                <c:pt idx="1654">
                  <c:v>34.9</c:v>
                </c:pt>
                <c:pt idx="1655">
                  <c:v>35.35</c:v>
                </c:pt>
                <c:pt idx="1656">
                  <c:v>34.274999999999999</c:v>
                </c:pt>
                <c:pt idx="1657">
                  <c:v>33.9</c:v>
                </c:pt>
                <c:pt idx="1658">
                  <c:v>35.174999999999997</c:v>
                </c:pt>
                <c:pt idx="1659">
                  <c:v>35.174999999999997</c:v>
                </c:pt>
                <c:pt idx="1660">
                  <c:v>35.25</c:v>
                </c:pt>
                <c:pt idx="1661">
                  <c:v>36.18</c:v>
                </c:pt>
                <c:pt idx="1662">
                  <c:v>35.4</c:v>
                </c:pt>
                <c:pt idx="1663">
                  <c:v>35.950000000000003</c:v>
                </c:pt>
                <c:pt idx="1664">
                  <c:v>35.799999999999997</c:v>
                </c:pt>
                <c:pt idx="1665">
                  <c:v>35.625</c:v>
                </c:pt>
                <c:pt idx="1666">
                  <c:v>35.625</c:v>
                </c:pt>
                <c:pt idx="1667">
                  <c:v>35.65</c:v>
                </c:pt>
                <c:pt idx="1668">
                  <c:v>36.950000000000003</c:v>
                </c:pt>
                <c:pt idx="1669">
                  <c:v>37.725000000000001</c:v>
                </c:pt>
                <c:pt idx="1670">
                  <c:v>39.799999999999997</c:v>
                </c:pt>
                <c:pt idx="1671">
                  <c:v>41.25</c:v>
                </c:pt>
                <c:pt idx="1672">
                  <c:v>40.625</c:v>
                </c:pt>
                <c:pt idx="1673">
                  <c:v>40.625</c:v>
                </c:pt>
                <c:pt idx="1674">
                  <c:v>40.549999999999997</c:v>
                </c:pt>
                <c:pt idx="1675">
                  <c:v>42.1</c:v>
                </c:pt>
                <c:pt idx="1676">
                  <c:v>41.25</c:v>
                </c:pt>
                <c:pt idx="1677">
                  <c:v>41.825000000000003</c:v>
                </c:pt>
                <c:pt idx="1678">
                  <c:v>42.55</c:v>
                </c:pt>
                <c:pt idx="1679">
                  <c:v>42.7</c:v>
                </c:pt>
                <c:pt idx="1680">
                  <c:v>42.7</c:v>
                </c:pt>
                <c:pt idx="1681">
                  <c:v>43</c:v>
                </c:pt>
                <c:pt idx="1682">
                  <c:v>43.3</c:v>
                </c:pt>
                <c:pt idx="1683">
                  <c:v>44.625</c:v>
                </c:pt>
                <c:pt idx="1684">
                  <c:v>46.274999999999999</c:v>
                </c:pt>
                <c:pt idx="1685">
                  <c:v>45.6</c:v>
                </c:pt>
                <c:pt idx="1686">
                  <c:v>44.3</c:v>
                </c:pt>
                <c:pt idx="1687">
                  <c:v>44.3</c:v>
                </c:pt>
                <c:pt idx="1688">
                  <c:v>44.3</c:v>
                </c:pt>
                <c:pt idx="1689">
                  <c:v>47.7</c:v>
                </c:pt>
                <c:pt idx="1690">
                  <c:v>46.6</c:v>
                </c:pt>
                <c:pt idx="1691">
                  <c:v>44.8</c:v>
                </c:pt>
                <c:pt idx="1692">
                  <c:v>40.174999999999997</c:v>
                </c:pt>
                <c:pt idx="1693">
                  <c:v>41.625</c:v>
                </c:pt>
                <c:pt idx="1694">
                  <c:v>41.625</c:v>
                </c:pt>
                <c:pt idx="1695">
                  <c:v>41.575000000000003</c:v>
                </c:pt>
                <c:pt idx="1696">
                  <c:v>42.05</c:v>
                </c:pt>
                <c:pt idx="1697">
                  <c:v>45.2</c:v>
                </c:pt>
                <c:pt idx="1698">
                  <c:v>45.274999999999999</c:v>
                </c:pt>
                <c:pt idx="1699">
                  <c:v>45.2</c:v>
                </c:pt>
                <c:pt idx="1700">
                  <c:v>47.674999999999997</c:v>
                </c:pt>
                <c:pt idx="1701">
                  <c:v>47.674999999999997</c:v>
                </c:pt>
                <c:pt idx="1702">
                  <c:v>47.674999999999997</c:v>
                </c:pt>
                <c:pt idx="1703">
                  <c:v>47.725000000000001</c:v>
                </c:pt>
                <c:pt idx="1704">
                  <c:v>50.45</c:v>
                </c:pt>
                <c:pt idx="1705">
                  <c:v>49.674999999999997</c:v>
                </c:pt>
                <c:pt idx="1706">
                  <c:v>51.55</c:v>
                </c:pt>
                <c:pt idx="1707">
                  <c:v>50.924999999999997</c:v>
                </c:pt>
                <c:pt idx="1708">
                  <c:v>50.924999999999997</c:v>
                </c:pt>
                <c:pt idx="1709">
                  <c:v>50.924999999999997</c:v>
                </c:pt>
                <c:pt idx="1710">
                  <c:v>52.075000000000003</c:v>
                </c:pt>
                <c:pt idx="1711">
                  <c:v>53.475000000000001</c:v>
                </c:pt>
                <c:pt idx="1712">
                  <c:v>54.7</c:v>
                </c:pt>
                <c:pt idx="1713">
                  <c:v>56.174999999999997</c:v>
                </c:pt>
                <c:pt idx="1714">
                  <c:v>57.6</c:v>
                </c:pt>
                <c:pt idx="1715">
                  <c:v>57.6</c:v>
                </c:pt>
                <c:pt idx="1716">
                  <c:v>58.225000000000001</c:v>
                </c:pt>
                <c:pt idx="1717">
                  <c:v>61.575000000000003</c:v>
                </c:pt>
                <c:pt idx="1718">
                  <c:v>66.05</c:v>
                </c:pt>
                <c:pt idx="1719">
                  <c:v>70.05</c:v>
                </c:pt>
                <c:pt idx="1720">
                  <c:v>60.725000000000001</c:v>
                </c:pt>
                <c:pt idx="1721">
                  <c:v>65.05</c:v>
                </c:pt>
                <c:pt idx="1722">
                  <c:v>65.05</c:v>
                </c:pt>
                <c:pt idx="1723">
                  <c:v>65.474999999999994</c:v>
                </c:pt>
                <c:pt idx="1724">
                  <c:v>73.400000000000006</c:v>
                </c:pt>
                <c:pt idx="1725">
                  <c:v>71.849999999999994</c:v>
                </c:pt>
                <c:pt idx="1726">
                  <c:v>68.5</c:v>
                </c:pt>
                <c:pt idx="1727">
                  <c:v>67.3</c:v>
                </c:pt>
                <c:pt idx="1728">
                  <c:v>67.75</c:v>
                </c:pt>
                <c:pt idx="1729">
                  <c:v>67.75</c:v>
                </c:pt>
                <c:pt idx="1730">
                  <c:v>68.2</c:v>
                </c:pt>
                <c:pt idx="1731">
                  <c:v>75.75</c:v>
                </c:pt>
                <c:pt idx="1732">
                  <c:v>78.150000000000006</c:v>
                </c:pt>
                <c:pt idx="1733">
                  <c:v>80.825000000000003</c:v>
                </c:pt>
                <c:pt idx="1734">
                  <c:v>85.4</c:v>
                </c:pt>
                <c:pt idx="1735">
                  <c:v>82.5</c:v>
                </c:pt>
                <c:pt idx="1736">
                  <c:v>82.5</c:v>
                </c:pt>
                <c:pt idx="1737">
                  <c:v>85.15</c:v>
                </c:pt>
                <c:pt idx="1738">
                  <c:v>89.5</c:v>
                </c:pt>
                <c:pt idx="1739">
                  <c:v>116.1</c:v>
                </c:pt>
                <c:pt idx="1740">
                  <c:v>101</c:v>
                </c:pt>
                <c:pt idx="1741">
                  <c:v>92.7</c:v>
                </c:pt>
                <c:pt idx="1742">
                  <c:v>77.849999999999994</c:v>
                </c:pt>
                <c:pt idx="1743">
                  <c:v>77.849999999999994</c:v>
                </c:pt>
                <c:pt idx="1744">
                  <c:v>80.3</c:v>
                </c:pt>
                <c:pt idx="1745">
                  <c:v>83.25</c:v>
                </c:pt>
                <c:pt idx="1746">
                  <c:v>85.2</c:v>
                </c:pt>
                <c:pt idx="1747">
                  <c:v>91.35</c:v>
                </c:pt>
                <c:pt idx="1748">
                  <c:v>99.5</c:v>
                </c:pt>
                <c:pt idx="1749">
                  <c:v>85</c:v>
                </c:pt>
                <c:pt idx="1750">
                  <c:v>85</c:v>
                </c:pt>
                <c:pt idx="1751">
                  <c:v>87.9</c:v>
                </c:pt>
                <c:pt idx="1752">
                  <c:v>85.25</c:v>
                </c:pt>
                <c:pt idx="1753">
                  <c:v>87</c:v>
                </c:pt>
                <c:pt idx="1754">
                  <c:v>90.775000000000006</c:v>
                </c:pt>
                <c:pt idx="1755">
                  <c:v>86</c:v>
                </c:pt>
                <c:pt idx="1756">
                  <c:v>86.15</c:v>
                </c:pt>
                <c:pt idx="1757">
                  <c:v>86.15</c:v>
                </c:pt>
                <c:pt idx="1758">
                  <c:v>87.05</c:v>
                </c:pt>
                <c:pt idx="1759">
                  <c:v>88.174999999999997</c:v>
                </c:pt>
                <c:pt idx="1760">
                  <c:v>86.974999999999994</c:v>
                </c:pt>
                <c:pt idx="1761">
                  <c:v>84.7</c:v>
                </c:pt>
                <c:pt idx="1762">
                  <c:v>72.7</c:v>
                </c:pt>
                <c:pt idx="1763">
                  <c:v>60</c:v>
                </c:pt>
                <c:pt idx="1764">
                  <c:v>60</c:v>
                </c:pt>
                <c:pt idx="1765">
                  <c:v>60.8</c:v>
                </c:pt>
                <c:pt idx="1766">
                  <c:v>63.3</c:v>
                </c:pt>
                <c:pt idx="1767">
                  <c:v>69.375</c:v>
                </c:pt>
                <c:pt idx="1768">
                  <c:v>78.400000000000006</c:v>
                </c:pt>
                <c:pt idx="1769">
                  <c:v>72.575000000000003</c:v>
                </c:pt>
                <c:pt idx="1770">
                  <c:v>72.849999999999994</c:v>
                </c:pt>
                <c:pt idx="1771">
                  <c:v>72.849999999999994</c:v>
                </c:pt>
                <c:pt idx="1772">
                  <c:v>73.2</c:v>
                </c:pt>
                <c:pt idx="1773">
                  <c:v>77</c:v>
                </c:pt>
                <c:pt idx="1774">
                  <c:v>70.5</c:v>
                </c:pt>
                <c:pt idx="1775">
                  <c:v>70.05</c:v>
                </c:pt>
                <c:pt idx="1776">
                  <c:v>74.025000000000006</c:v>
                </c:pt>
                <c:pt idx="1777">
                  <c:v>72.400000000000006</c:v>
                </c:pt>
                <c:pt idx="1778">
                  <c:v>72.400000000000006</c:v>
                </c:pt>
                <c:pt idx="1779">
                  <c:v>72.75</c:v>
                </c:pt>
                <c:pt idx="1780">
                  <c:v>79.55</c:v>
                </c:pt>
                <c:pt idx="1781">
                  <c:v>93.6</c:v>
                </c:pt>
                <c:pt idx="1782">
                  <c:v>93.1</c:v>
                </c:pt>
                <c:pt idx="1783">
                  <c:v>91.525000000000006</c:v>
                </c:pt>
                <c:pt idx="1784">
                  <c:v>86.1</c:v>
                </c:pt>
                <c:pt idx="1785">
                  <c:v>86.1</c:v>
                </c:pt>
                <c:pt idx="1786">
                  <c:v>86.4</c:v>
                </c:pt>
                <c:pt idx="1787">
                  <c:v>83.7</c:v>
                </c:pt>
                <c:pt idx="1788">
                  <c:v>91.275000000000006</c:v>
                </c:pt>
                <c:pt idx="1789">
                  <c:v>93.25</c:v>
                </c:pt>
                <c:pt idx="1790">
                  <c:v>91.9</c:v>
                </c:pt>
                <c:pt idx="1791">
                  <c:v>86.974999999999994</c:v>
                </c:pt>
                <c:pt idx="1792">
                  <c:v>86.974999999999994</c:v>
                </c:pt>
                <c:pt idx="1793">
                  <c:v>87.5</c:v>
                </c:pt>
                <c:pt idx="1794">
                  <c:v>93.075000000000003</c:v>
                </c:pt>
                <c:pt idx="1795">
                  <c:v>90.8</c:v>
                </c:pt>
                <c:pt idx="1796">
                  <c:v>94.974999999999994</c:v>
                </c:pt>
                <c:pt idx="1797">
                  <c:v>92.6</c:v>
                </c:pt>
                <c:pt idx="1798">
                  <c:v>88.474999999999994</c:v>
                </c:pt>
                <c:pt idx="1799">
                  <c:v>88.474999999999994</c:v>
                </c:pt>
                <c:pt idx="1800">
                  <c:v>89.2</c:v>
                </c:pt>
                <c:pt idx="1801">
                  <c:v>89.4</c:v>
                </c:pt>
                <c:pt idx="1802">
                  <c:v>96.015000000000001</c:v>
                </c:pt>
                <c:pt idx="1803">
                  <c:v>102.9</c:v>
                </c:pt>
                <c:pt idx="1804">
                  <c:v>100.575</c:v>
                </c:pt>
                <c:pt idx="1805">
                  <c:v>103.425</c:v>
                </c:pt>
                <c:pt idx="1806">
                  <c:v>103.425</c:v>
                </c:pt>
                <c:pt idx="1807">
                  <c:v>103.6</c:v>
                </c:pt>
                <c:pt idx="1808">
                  <c:v>116.95</c:v>
                </c:pt>
                <c:pt idx="1809">
                  <c:v>127.22499999999999</c:v>
                </c:pt>
                <c:pt idx="1810">
                  <c:v>128.94999999999999</c:v>
                </c:pt>
                <c:pt idx="1811">
                  <c:v>134.80000000000001</c:v>
                </c:pt>
                <c:pt idx="1812">
                  <c:v>133.97499999999999</c:v>
                </c:pt>
                <c:pt idx="1813">
                  <c:v>133.97499999999999</c:v>
                </c:pt>
                <c:pt idx="1814">
                  <c:v>135.05000000000001</c:v>
                </c:pt>
                <c:pt idx="1815">
                  <c:v>148</c:v>
                </c:pt>
                <c:pt idx="1816">
                  <c:v>182.75</c:v>
                </c:pt>
                <c:pt idx="1817">
                  <c:v>166</c:v>
                </c:pt>
                <c:pt idx="1818">
                  <c:v>123.95</c:v>
                </c:pt>
                <c:pt idx="1819">
                  <c:v>97.5</c:v>
                </c:pt>
                <c:pt idx="1820">
                  <c:v>97.5</c:v>
                </c:pt>
                <c:pt idx="1821">
                  <c:v>97.5</c:v>
                </c:pt>
                <c:pt idx="1822">
                  <c:v>97.5</c:v>
                </c:pt>
                <c:pt idx="1823">
                  <c:v>96</c:v>
                </c:pt>
                <c:pt idx="1824">
                  <c:v>88.3</c:v>
                </c:pt>
                <c:pt idx="1825">
                  <c:v>78.625</c:v>
                </c:pt>
                <c:pt idx="1826">
                  <c:v>61.3</c:v>
                </c:pt>
                <c:pt idx="1827">
                  <c:v>61.3</c:v>
                </c:pt>
                <c:pt idx="1828">
                  <c:v>61.3</c:v>
                </c:pt>
                <c:pt idx="1829">
                  <c:v>64.400000000000006</c:v>
                </c:pt>
                <c:pt idx="1830">
                  <c:v>85.7</c:v>
                </c:pt>
                <c:pt idx="1831">
                  <c:v>92.424999999999997</c:v>
                </c:pt>
                <c:pt idx="1832">
                  <c:v>96.8</c:v>
                </c:pt>
                <c:pt idx="1833">
                  <c:v>86.034999999999997</c:v>
                </c:pt>
                <c:pt idx="1834">
                  <c:v>86.034999999999997</c:v>
                </c:pt>
                <c:pt idx="1835">
                  <c:v>86.724999999999994</c:v>
                </c:pt>
                <c:pt idx="1836">
                  <c:v>84</c:v>
                </c:pt>
                <c:pt idx="1837">
                  <c:v>80.849999999999994</c:v>
                </c:pt>
                <c:pt idx="1838">
                  <c:v>74.7</c:v>
                </c:pt>
                <c:pt idx="1839">
                  <c:v>84.375</c:v>
                </c:pt>
                <c:pt idx="1840">
                  <c:v>83</c:v>
                </c:pt>
                <c:pt idx="1841">
                  <c:v>83</c:v>
                </c:pt>
                <c:pt idx="1842">
                  <c:v>83.924999999999997</c:v>
                </c:pt>
                <c:pt idx="1843">
                  <c:v>76.099999999999994</c:v>
                </c:pt>
                <c:pt idx="1844">
                  <c:v>79.2</c:v>
                </c:pt>
                <c:pt idx="1845">
                  <c:v>74.400000000000006</c:v>
                </c:pt>
                <c:pt idx="1846">
                  <c:v>76</c:v>
                </c:pt>
                <c:pt idx="1847">
                  <c:v>80.174999999999997</c:v>
                </c:pt>
                <c:pt idx="1848">
                  <c:v>80.174999999999997</c:v>
                </c:pt>
                <c:pt idx="1849">
                  <c:v>80.2</c:v>
                </c:pt>
                <c:pt idx="1850">
                  <c:v>91.25</c:v>
                </c:pt>
                <c:pt idx="1851">
                  <c:v>92.275000000000006</c:v>
                </c:pt>
                <c:pt idx="1852">
                  <c:v>90.5</c:v>
                </c:pt>
                <c:pt idx="1853">
                  <c:v>90.35</c:v>
                </c:pt>
                <c:pt idx="1854">
                  <c:v>90.5</c:v>
                </c:pt>
                <c:pt idx="1855">
                  <c:v>90.5</c:v>
                </c:pt>
                <c:pt idx="1856">
                  <c:v>90.674999999999997</c:v>
                </c:pt>
                <c:pt idx="1857">
                  <c:v>83</c:v>
                </c:pt>
                <c:pt idx="1858">
                  <c:v>75.900000000000006</c:v>
                </c:pt>
                <c:pt idx="1859">
                  <c:v>76.075000000000003</c:v>
                </c:pt>
                <c:pt idx="1860">
                  <c:v>79.650000000000006</c:v>
                </c:pt>
                <c:pt idx="1861">
                  <c:v>81.3</c:v>
                </c:pt>
                <c:pt idx="1862">
                  <c:v>81.3</c:v>
                </c:pt>
                <c:pt idx="1863">
                  <c:v>81.849999999999994</c:v>
                </c:pt>
                <c:pt idx="1864">
                  <c:v>77.599999999999994</c:v>
                </c:pt>
                <c:pt idx="1865">
                  <c:v>75.665000000000006</c:v>
                </c:pt>
                <c:pt idx="1866">
                  <c:v>75.325000000000003</c:v>
                </c:pt>
                <c:pt idx="1867">
                  <c:v>74.674999999999997</c:v>
                </c:pt>
                <c:pt idx="1868">
                  <c:v>76.3</c:v>
                </c:pt>
                <c:pt idx="1869">
                  <c:v>76.3</c:v>
                </c:pt>
                <c:pt idx="1870">
                  <c:v>75.95</c:v>
                </c:pt>
                <c:pt idx="1871">
                  <c:v>79.325000000000003</c:v>
                </c:pt>
                <c:pt idx="1872">
                  <c:v>68.075000000000003</c:v>
                </c:pt>
                <c:pt idx="1873">
                  <c:v>69.05</c:v>
                </c:pt>
                <c:pt idx="1874">
                  <c:v>74</c:v>
                </c:pt>
                <c:pt idx="1875">
                  <c:v>72.924999999999997</c:v>
                </c:pt>
                <c:pt idx="1876">
                  <c:v>72.924999999999997</c:v>
                </c:pt>
                <c:pt idx="1877">
                  <c:v>72.849999999999994</c:v>
                </c:pt>
                <c:pt idx="1878">
                  <c:v>71.575000000000003</c:v>
                </c:pt>
                <c:pt idx="1879">
                  <c:v>78.849999999999994</c:v>
                </c:pt>
                <c:pt idx="1880">
                  <c:v>88.85</c:v>
                </c:pt>
                <c:pt idx="1881">
                  <c:v>118</c:v>
                </c:pt>
                <c:pt idx="1882">
                  <c:v>88.65</c:v>
                </c:pt>
                <c:pt idx="1883">
                  <c:v>88.65</c:v>
                </c:pt>
                <c:pt idx="1884">
                  <c:v>89.95</c:v>
                </c:pt>
                <c:pt idx="1885">
                  <c:v>98.525000000000006</c:v>
                </c:pt>
                <c:pt idx="1886">
                  <c:v>123</c:v>
                </c:pt>
                <c:pt idx="1887">
                  <c:v>175.05</c:v>
                </c:pt>
                <c:pt idx="1888">
                  <c:v>140</c:v>
                </c:pt>
                <c:pt idx="1889">
                  <c:v>191</c:v>
                </c:pt>
                <c:pt idx="1890">
                  <c:v>191</c:v>
                </c:pt>
                <c:pt idx="1891">
                  <c:v>194.82499999999999</c:v>
                </c:pt>
                <c:pt idx="1892">
                  <c:v>212.07499999999999</c:v>
                </c:pt>
                <c:pt idx="1893">
                  <c:v>208.95</c:v>
                </c:pt>
                <c:pt idx="1894">
                  <c:v>148.97499999999999</c:v>
                </c:pt>
                <c:pt idx="1895">
                  <c:v>120.325</c:v>
                </c:pt>
                <c:pt idx="1896">
                  <c:v>129</c:v>
                </c:pt>
                <c:pt idx="1897">
                  <c:v>129</c:v>
                </c:pt>
                <c:pt idx="1898">
                  <c:v>130.375</c:v>
                </c:pt>
                <c:pt idx="1899">
                  <c:v>109.5</c:v>
                </c:pt>
                <c:pt idx="1900">
                  <c:v>109.35</c:v>
                </c:pt>
                <c:pt idx="1901">
                  <c:v>97.6</c:v>
                </c:pt>
                <c:pt idx="1902">
                  <c:v>101</c:v>
                </c:pt>
                <c:pt idx="1903">
                  <c:v>94.1</c:v>
                </c:pt>
                <c:pt idx="1904">
                  <c:v>94.1</c:v>
                </c:pt>
                <c:pt idx="1905">
                  <c:v>95.35</c:v>
                </c:pt>
                <c:pt idx="1906">
                  <c:v>91.6</c:v>
                </c:pt>
                <c:pt idx="1907">
                  <c:v>94.625</c:v>
                </c:pt>
                <c:pt idx="1908">
                  <c:v>109.935</c:v>
                </c:pt>
                <c:pt idx="1909">
                  <c:v>98.724999999999994</c:v>
                </c:pt>
                <c:pt idx="1910">
                  <c:v>92.75</c:v>
                </c:pt>
                <c:pt idx="1911">
                  <c:v>92.75</c:v>
                </c:pt>
                <c:pt idx="1912">
                  <c:v>95.5</c:v>
                </c:pt>
                <c:pt idx="1913">
                  <c:v>102.75</c:v>
                </c:pt>
                <c:pt idx="1914">
                  <c:v>106.3</c:v>
                </c:pt>
                <c:pt idx="1915">
                  <c:v>115.75</c:v>
                </c:pt>
                <c:pt idx="1916">
                  <c:v>124.5</c:v>
                </c:pt>
                <c:pt idx="1917">
                  <c:v>111.45</c:v>
                </c:pt>
                <c:pt idx="1918">
                  <c:v>111.45</c:v>
                </c:pt>
                <c:pt idx="1919">
                  <c:v>111.7</c:v>
                </c:pt>
                <c:pt idx="1920">
                  <c:v>109.25</c:v>
                </c:pt>
                <c:pt idx="1921">
                  <c:v>107.125</c:v>
                </c:pt>
                <c:pt idx="1922">
                  <c:v>106.15</c:v>
                </c:pt>
                <c:pt idx="1923">
                  <c:v>103.05</c:v>
                </c:pt>
                <c:pt idx="1924">
                  <c:v>101.6</c:v>
                </c:pt>
                <c:pt idx="1925">
                  <c:v>101.6</c:v>
                </c:pt>
                <c:pt idx="1926">
                  <c:v>102.5</c:v>
                </c:pt>
                <c:pt idx="1927">
                  <c:v>100.925</c:v>
                </c:pt>
                <c:pt idx="1928">
                  <c:v>102.55</c:v>
                </c:pt>
                <c:pt idx="1929">
                  <c:v>103.6</c:v>
                </c:pt>
                <c:pt idx="1930">
                  <c:v>82</c:v>
                </c:pt>
                <c:pt idx="1931">
                  <c:v>82</c:v>
                </c:pt>
                <c:pt idx="1932">
                  <c:v>82</c:v>
                </c:pt>
                <c:pt idx="1933">
                  <c:v>82</c:v>
                </c:pt>
                <c:pt idx="1934">
                  <c:v>87</c:v>
                </c:pt>
                <c:pt idx="1935">
                  <c:v>91.2</c:v>
                </c:pt>
                <c:pt idx="1936">
                  <c:v>91.025000000000006</c:v>
                </c:pt>
                <c:pt idx="1937">
                  <c:v>98.15</c:v>
                </c:pt>
                <c:pt idx="1938">
                  <c:v>91.3</c:v>
                </c:pt>
                <c:pt idx="1939">
                  <c:v>91.3</c:v>
                </c:pt>
                <c:pt idx="1940">
                  <c:v>92.025000000000006</c:v>
                </c:pt>
                <c:pt idx="1941">
                  <c:v>93.635000000000005</c:v>
                </c:pt>
                <c:pt idx="1942">
                  <c:v>97.41</c:v>
                </c:pt>
                <c:pt idx="1943">
                  <c:v>103.55</c:v>
                </c:pt>
                <c:pt idx="1944">
                  <c:v>99.174999999999997</c:v>
                </c:pt>
                <c:pt idx="1945">
                  <c:v>95.3</c:v>
                </c:pt>
                <c:pt idx="1946">
                  <c:v>95.3</c:v>
                </c:pt>
                <c:pt idx="1947">
                  <c:v>95.3</c:v>
                </c:pt>
                <c:pt idx="1948">
                  <c:v>95.5</c:v>
                </c:pt>
                <c:pt idx="1949">
                  <c:v>96.224999999999994</c:v>
                </c:pt>
                <c:pt idx="1950">
                  <c:v>101.7</c:v>
                </c:pt>
                <c:pt idx="1951">
                  <c:v>96</c:v>
                </c:pt>
                <c:pt idx="1952">
                  <c:v>86.525000000000006</c:v>
                </c:pt>
                <c:pt idx="1953">
                  <c:v>86.525000000000006</c:v>
                </c:pt>
                <c:pt idx="1954">
                  <c:v>86.974999999999994</c:v>
                </c:pt>
                <c:pt idx="1955">
                  <c:v>83</c:v>
                </c:pt>
                <c:pt idx="1956">
                  <c:v>81.5</c:v>
                </c:pt>
                <c:pt idx="1957">
                  <c:v>82.075000000000003</c:v>
                </c:pt>
                <c:pt idx="1958">
                  <c:v>88</c:v>
                </c:pt>
                <c:pt idx="1959">
                  <c:v>93.5</c:v>
                </c:pt>
                <c:pt idx="1960">
                  <c:v>93.5</c:v>
                </c:pt>
                <c:pt idx="1961">
                  <c:v>93.05</c:v>
                </c:pt>
                <c:pt idx="1962">
                  <c:v>92.5</c:v>
                </c:pt>
                <c:pt idx="1963">
                  <c:v>92</c:v>
                </c:pt>
                <c:pt idx="1964">
                  <c:v>89.075000000000003</c:v>
                </c:pt>
                <c:pt idx="1965">
                  <c:v>88.4</c:v>
                </c:pt>
                <c:pt idx="1966">
                  <c:v>83.25</c:v>
                </c:pt>
                <c:pt idx="1967">
                  <c:v>83.25</c:v>
                </c:pt>
                <c:pt idx="1968">
                  <c:v>84.95</c:v>
                </c:pt>
                <c:pt idx="1969">
                  <c:v>77.349999999999994</c:v>
                </c:pt>
                <c:pt idx="1970">
                  <c:v>79.075000000000003</c:v>
                </c:pt>
                <c:pt idx="1971">
                  <c:v>81.650000000000006</c:v>
                </c:pt>
                <c:pt idx="1972">
                  <c:v>82.275000000000006</c:v>
                </c:pt>
                <c:pt idx="1973">
                  <c:v>82.7</c:v>
                </c:pt>
                <c:pt idx="1974">
                  <c:v>82.7</c:v>
                </c:pt>
                <c:pt idx="1975">
                  <c:v>83.1</c:v>
                </c:pt>
                <c:pt idx="1976">
                  <c:v>87.1</c:v>
                </c:pt>
                <c:pt idx="1977">
                  <c:v>85.9</c:v>
                </c:pt>
                <c:pt idx="1978">
                  <c:v>75.599999999999994</c:v>
                </c:pt>
                <c:pt idx="1979">
                  <c:v>75.599999999999994</c:v>
                </c:pt>
                <c:pt idx="1980">
                  <c:v>75.599999999999994</c:v>
                </c:pt>
                <c:pt idx="1981">
                  <c:v>75.599999999999994</c:v>
                </c:pt>
                <c:pt idx="1982">
                  <c:v>76.275000000000006</c:v>
                </c:pt>
                <c:pt idx="1983">
                  <c:v>77.325000000000003</c:v>
                </c:pt>
                <c:pt idx="1984">
                  <c:v>78.3</c:v>
                </c:pt>
                <c:pt idx="1985">
                  <c:v>75.5</c:v>
                </c:pt>
                <c:pt idx="1986">
                  <c:v>83.25</c:v>
                </c:pt>
                <c:pt idx="1987">
                  <c:v>79.125</c:v>
                </c:pt>
                <c:pt idx="1988">
                  <c:v>79.125</c:v>
                </c:pt>
                <c:pt idx="1989">
                  <c:v>80.125</c:v>
                </c:pt>
                <c:pt idx="1990">
                  <c:v>80.3</c:v>
                </c:pt>
                <c:pt idx="1991">
                  <c:v>95.5</c:v>
                </c:pt>
                <c:pt idx="1992">
                  <c:v>109.7</c:v>
                </c:pt>
                <c:pt idx="1993">
                  <c:v>117</c:v>
                </c:pt>
                <c:pt idx="1994">
                  <c:v>106.4</c:v>
                </c:pt>
                <c:pt idx="1995">
                  <c:v>106.4</c:v>
                </c:pt>
                <c:pt idx="1996">
                  <c:v>106.75</c:v>
                </c:pt>
                <c:pt idx="1997">
                  <c:v>118</c:v>
                </c:pt>
                <c:pt idx="1998">
                  <c:v>123.55</c:v>
                </c:pt>
                <c:pt idx="1999">
                  <c:v>125.45</c:v>
                </c:pt>
                <c:pt idx="2000">
                  <c:v>128.6</c:v>
                </c:pt>
                <c:pt idx="2001">
                  <c:v>126.02500000000001</c:v>
                </c:pt>
                <c:pt idx="2002">
                  <c:v>126.02500000000001</c:v>
                </c:pt>
                <c:pt idx="2003">
                  <c:v>126.3</c:v>
                </c:pt>
                <c:pt idx="2004">
                  <c:v>129.07499999999999</c:v>
                </c:pt>
                <c:pt idx="2005">
                  <c:v>130</c:v>
                </c:pt>
                <c:pt idx="2006">
                  <c:v>139.19999999999999</c:v>
                </c:pt>
                <c:pt idx="2007">
                  <c:v>144.80000000000001</c:v>
                </c:pt>
                <c:pt idx="2008">
                  <c:v>145.5</c:v>
                </c:pt>
                <c:pt idx="2009">
                  <c:v>145.5</c:v>
                </c:pt>
                <c:pt idx="2010">
                  <c:v>145.85</c:v>
                </c:pt>
                <c:pt idx="2011">
                  <c:v>162.32499999999999</c:v>
                </c:pt>
                <c:pt idx="2012">
                  <c:v>160</c:v>
                </c:pt>
                <c:pt idx="2013">
                  <c:v>175.25</c:v>
                </c:pt>
                <c:pt idx="2014">
                  <c:v>185.52500000000001</c:v>
                </c:pt>
                <c:pt idx="2015">
                  <c:v>167.55</c:v>
                </c:pt>
                <c:pt idx="2016">
                  <c:v>167.55</c:v>
                </c:pt>
                <c:pt idx="2017">
                  <c:v>169</c:v>
                </c:pt>
                <c:pt idx="2018">
                  <c:v>162</c:v>
                </c:pt>
                <c:pt idx="2019">
                  <c:v>173.5</c:v>
                </c:pt>
                <c:pt idx="2020">
                  <c:v>181.82499999999999</c:v>
                </c:pt>
                <c:pt idx="2021">
                  <c:v>169.535</c:v>
                </c:pt>
                <c:pt idx="2022">
                  <c:v>157.5</c:v>
                </c:pt>
                <c:pt idx="2023">
                  <c:v>157.5</c:v>
                </c:pt>
                <c:pt idx="2024">
                  <c:v>154.5</c:v>
                </c:pt>
                <c:pt idx="2025">
                  <c:v>155.32499999999999</c:v>
                </c:pt>
                <c:pt idx="2026">
                  <c:v>151.30000000000001</c:v>
                </c:pt>
                <c:pt idx="2027">
                  <c:v>154.19999999999999</c:v>
                </c:pt>
                <c:pt idx="2028">
                  <c:v>154.77500000000001</c:v>
                </c:pt>
                <c:pt idx="2029">
                  <c:v>159.38999999999999</c:v>
                </c:pt>
                <c:pt idx="2030">
                  <c:v>159.38999999999999</c:v>
                </c:pt>
                <c:pt idx="2031">
                  <c:v>160.5</c:v>
                </c:pt>
                <c:pt idx="2032">
                  <c:v>174.45</c:v>
                </c:pt>
                <c:pt idx="2033">
                  <c:v>201.72499999999999</c:v>
                </c:pt>
                <c:pt idx="2034">
                  <c:v>203.9</c:v>
                </c:pt>
                <c:pt idx="2035">
                  <c:v>200</c:v>
                </c:pt>
                <c:pt idx="2036">
                  <c:v>191.5</c:v>
                </c:pt>
                <c:pt idx="2037">
                  <c:v>191.5</c:v>
                </c:pt>
                <c:pt idx="2038">
                  <c:v>191.8</c:v>
                </c:pt>
                <c:pt idx="2039">
                  <c:v>198.3</c:v>
                </c:pt>
                <c:pt idx="2040">
                  <c:v>200.3</c:v>
                </c:pt>
                <c:pt idx="2041">
                  <c:v>196</c:v>
                </c:pt>
                <c:pt idx="2042">
                  <c:v>198.15</c:v>
                </c:pt>
                <c:pt idx="2043">
                  <c:v>192.5</c:v>
                </c:pt>
                <c:pt idx="2044">
                  <c:v>192.5</c:v>
                </c:pt>
                <c:pt idx="2045">
                  <c:v>192.35</c:v>
                </c:pt>
                <c:pt idx="2046">
                  <c:v>190.875</c:v>
                </c:pt>
                <c:pt idx="2047">
                  <c:v>192.35</c:v>
                </c:pt>
                <c:pt idx="2048">
                  <c:v>202.47499999999999</c:v>
                </c:pt>
                <c:pt idx="2049">
                  <c:v>206.15</c:v>
                </c:pt>
                <c:pt idx="2050">
                  <c:v>200</c:v>
                </c:pt>
                <c:pt idx="2051">
                  <c:v>200</c:v>
                </c:pt>
                <c:pt idx="2052">
                  <c:v>199.97499999999999</c:v>
                </c:pt>
                <c:pt idx="2053">
                  <c:v>220.52500000000001</c:v>
                </c:pt>
                <c:pt idx="2054">
                  <c:v>223.4</c:v>
                </c:pt>
                <c:pt idx="2055">
                  <c:v>226.02500000000001</c:v>
                </c:pt>
                <c:pt idx="2056">
                  <c:v>238.7</c:v>
                </c:pt>
                <c:pt idx="2057">
                  <c:v>244.4</c:v>
                </c:pt>
                <c:pt idx="2058">
                  <c:v>244.4</c:v>
                </c:pt>
                <c:pt idx="2059">
                  <c:v>245.8</c:v>
                </c:pt>
                <c:pt idx="2060">
                  <c:v>282.02499999999998</c:v>
                </c:pt>
                <c:pt idx="2061">
                  <c:v>264.5</c:v>
                </c:pt>
                <c:pt idx="2062">
                  <c:v>292.5</c:v>
                </c:pt>
                <c:pt idx="2063">
                  <c:v>308</c:v>
                </c:pt>
                <c:pt idx="2064">
                  <c:v>304.2</c:v>
                </c:pt>
                <c:pt idx="2065">
                  <c:v>304.2</c:v>
                </c:pt>
                <c:pt idx="2066">
                  <c:v>304.2</c:v>
                </c:pt>
                <c:pt idx="2067">
                  <c:v>305</c:v>
                </c:pt>
                <c:pt idx="2068">
                  <c:v>2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BA-44E3-A977-1F0A78B17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0499608"/>
        <c:axId val="710503544"/>
      </c:lineChart>
      <c:dateAx>
        <c:axId val="873812992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814960"/>
        <c:crosses val="autoZero"/>
        <c:auto val="1"/>
        <c:lblOffset val="100"/>
        <c:baseTimeUnit val="days"/>
      </c:dateAx>
      <c:valAx>
        <c:axId val="873814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cm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812992"/>
        <c:crosses val="autoZero"/>
        <c:crossBetween val="between"/>
      </c:valAx>
      <c:valAx>
        <c:axId val="71050354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0499608"/>
        <c:crosses val="max"/>
        <c:crossBetween val="between"/>
        <c:majorUnit val="50"/>
      </c:valAx>
      <c:dateAx>
        <c:axId val="71049960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71050354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S1 flow vs. TTF DA pri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Hárok1!$BH$4</c:f>
              <c:strCache>
                <c:ptCount val="1"/>
                <c:pt idx="0">
                  <c:v>NS1 flow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árok1!$BF$5:$BF$2073</c:f>
              <c:numCache>
                <c:formatCode>m/d/yyyy</c:formatCode>
                <c:ptCount val="2069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</c:numCache>
            </c:numRef>
          </c:cat>
          <c:val>
            <c:numRef>
              <c:f>Hárok1!$BH$5:$BH$2073</c:f>
              <c:numCache>
                <c:formatCode>_(* #,##0_);_(* \(#,##0\);_(* "-"??_);_(@_)</c:formatCode>
                <c:ptCount val="2069"/>
                <c:pt idx="0">
                  <c:v>156.44111001281348</c:v>
                </c:pt>
                <c:pt idx="1">
                  <c:v>157.6474091158704</c:v>
                </c:pt>
                <c:pt idx="2">
                  <c:v>155.76820117151749</c:v>
                </c:pt>
                <c:pt idx="3">
                  <c:v>155.36359729086581</c:v>
                </c:pt>
                <c:pt idx="4">
                  <c:v>157.55940508877904</c:v>
                </c:pt>
                <c:pt idx="5">
                  <c:v>156.20929452681676</c:v>
                </c:pt>
                <c:pt idx="6">
                  <c:v>157.50574409665018</c:v>
                </c:pt>
                <c:pt idx="7">
                  <c:v>157</c:v>
                </c:pt>
                <c:pt idx="8">
                  <c:v>155.09958520959179</c:v>
                </c:pt>
                <c:pt idx="9">
                  <c:v>155.08241369211055</c:v>
                </c:pt>
                <c:pt idx="10">
                  <c:v>155.10817096833239</c:v>
                </c:pt>
                <c:pt idx="11">
                  <c:v>155.0942191103789</c:v>
                </c:pt>
                <c:pt idx="12">
                  <c:v>155.04270455793522</c:v>
                </c:pt>
                <c:pt idx="13">
                  <c:v>154.91499139666848</c:v>
                </c:pt>
                <c:pt idx="14">
                  <c:v>155.28525224235767</c:v>
                </c:pt>
                <c:pt idx="15">
                  <c:v>155.07382793336996</c:v>
                </c:pt>
                <c:pt idx="16">
                  <c:v>157.55081933003845</c:v>
                </c:pt>
                <c:pt idx="17">
                  <c:v>155.14466044298004</c:v>
                </c:pt>
                <c:pt idx="18">
                  <c:v>155.08777979132344</c:v>
                </c:pt>
                <c:pt idx="19">
                  <c:v>155.15861230093356</c:v>
                </c:pt>
                <c:pt idx="20">
                  <c:v>155.12212282628593</c:v>
                </c:pt>
                <c:pt idx="21">
                  <c:v>155.06309573494417</c:v>
                </c:pt>
                <c:pt idx="22">
                  <c:v>155.07812081274025</c:v>
                </c:pt>
                <c:pt idx="23">
                  <c:v>155.05129031667582</c:v>
                </c:pt>
                <c:pt idx="24">
                  <c:v>157.60877320153764</c:v>
                </c:pt>
                <c:pt idx="25">
                  <c:v>157.51540307523339</c:v>
                </c:pt>
                <c:pt idx="26">
                  <c:v>157.50467087680761</c:v>
                </c:pt>
                <c:pt idx="27">
                  <c:v>157.61091964122278</c:v>
                </c:pt>
                <c:pt idx="28">
                  <c:v>157.50681731649274</c:v>
                </c:pt>
                <c:pt idx="29">
                  <c:v>157.58838202452864</c:v>
                </c:pt>
                <c:pt idx="30">
                  <c:v>157.53150137287204</c:v>
                </c:pt>
                <c:pt idx="31">
                  <c:v>167.27848398315945</c:v>
                </c:pt>
                <c:pt idx="32">
                  <c:v>167.22696943071571</c:v>
                </c:pt>
                <c:pt idx="33">
                  <c:v>167.89129251327111</c:v>
                </c:pt>
                <c:pt idx="34">
                  <c:v>167.11320812740252</c:v>
                </c:pt>
                <c:pt idx="35">
                  <c:v>167.64445194947831</c:v>
                </c:pt>
                <c:pt idx="36">
                  <c:v>167.31282701812194</c:v>
                </c:pt>
                <c:pt idx="37">
                  <c:v>167.32677887607542</c:v>
                </c:pt>
                <c:pt idx="38">
                  <c:v>167.03271663920924</c:v>
                </c:pt>
                <c:pt idx="39">
                  <c:v>167.40727036426873</c:v>
                </c:pt>
                <c:pt idx="40">
                  <c:v>163.4256247483068</c:v>
                </c:pt>
                <c:pt idx="41">
                  <c:v>163.2313719568003</c:v>
                </c:pt>
                <c:pt idx="42">
                  <c:v>163.21742009884679</c:v>
                </c:pt>
                <c:pt idx="43">
                  <c:v>163.178784184514</c:v>
                </c:pt>
                <c:pt idx="44">
                  <c:v>164.37864396851546</c:v>
                </c:pt>
                <c:pt idx="45">
                  <c:v>167.3181931173348</c:v>
                </c:pt>
                <c:pt idx="46">
                  <c:v>156.59994654951493</c:v>
                </c:pt>
                <c:pt idx="47">
                  <c:v>156.59780010982979</c:v>
                </c:pt>
                <c:pt idx="48">
                  <c:v>162.01970675453049</c:v>
                </c:pt>
                <c:pt idx="49">
                  <c:v>156.60531264872782</c:v>
                </c:pt>
                <c:pt idx="50">
                  <c:v>156.55057843675635</c:v>
                </c:pt>
                <c:pt idx="51">
                  <c:v>156.69117023613398</c:v>
                </c:pt>
                <c:pt idx="52">
                  <c:v>161.80720922570015</c:v>
                </c:pt>
                <c:pt idx="53">
                  <c:v>167.95246604429798</c:v>
                </c:pt>
                <c:pt idx="54">
                  <c:v>167.31282701812191</c:v>
                </c:pt>
                <c:pt idx="55">
                  <c:v>167.10247592897676</c:v>
                </c:pt>
                <c:pt idx="56">
                  <c:v>168.07481310635183</c:v>
                </c:pt>
                <c:pt idx="57">
                  <c:v>167.2323355299286</c:v>
                </c:pt>
                <c:pt idx="58">
                  <c:v>167.33858429434378</c:v>
                </c:pt>
                <c:pt idx="59">
                  <c:v>166.47464232106898</c:v>
                </c:pt>
                <c:pt idx="60">
                  <c:v>167.42873476112027</c:v>
                </c:pt>
                <c:pt idx="61">
                  <c:v>162.34811202635916</c:v>
                </c:pt>
                <c:pt idx="62">
                  <c:v>171.32559600951856</c:v>
                </c:pt>
                <c:pt idx="63">
                  <c:v>168.45044005125391</c:v>
                </c:pt>
                <c:pt idx="64">
                  <c:v>167.08101153212522</c:v>
                </c:pt>
                <c:pt idx="65">
                  <c:v>167.58327841845141</c:v>
                </c:pt>
                <c:pt idx="66">
                  <c:v>167.25272670693758</c:v>
                </c:pt>
                <c:pt idx="67">
                  <c:v>167.28277686252977</c:v>
                </c:pt>
                <c:pt idx="68">
                  <c:v>167.09710982976389</c:v>
                </c:pt>
                <c:pt idx="69">
                  <c:v>167.61976789309904</c:v>
                </c:pt>
                <c:pt idx="70">
                  <c:v>166.9007105985722</c:v>
                </c:pt>
                <c:pt idx="71">
                  <c:v>167.04452205747759</c:v>
                </c:pt>
                <c:pt idx="72">
                  <c:v>167.71957733845875</c:v>
                </c:pt>
                <c:pt idx="73">
                  <c:v>167.08959729086581</c:v>
                </c:pt>
                <c:pt idx="74">
                  <c:v>154.09290499725427</c:v>
                </c:pt>
                <c:pt idx="75">
                  <c:v>142.7532641405821</c:v>
                </c:pt>
                <c:pt idx="76">
                  <c:v>130.88667234120447</c:v>
                </c:pt>
                <c:pt idx="77">
                  <c:v>131.36210873146621</c:v>
                </c:pt>
                <c:pt idx="78">
                  <c:v>131.32561925681861</c:v>
                </c:pt>
                <c:pt idx="79">
                  <c:v>138.53765659893833</c:v>
                </c:pt>
                <c:pt idx="80">
                  <c:v>150.0608180486912</c:v>
                </c:pt>
                <c:pt idx="81">
                  <c:v>149.2322923302215</c:v>
                </c:pt>
                <c:pt idx="82">
                  <c:v>160.22420995789861</c:v>
                </c:pt>
                <c:pt idx="83">
                  <c:v>167.78719018854108</c:v>
                </c:pt>
                <c:pt idx="84">
                  <c:v>160.16303642687166</c:v>
                </c:pt>
                <c:pt idx="85">
                  <c:v>167.7635793520044</c:v>
                </c:pt>
                <c:pt idx="86">
                  <c:v>167.78075086948564</c:v>
                </c:pt>
                <c:pt idx="87">
                  <c:v>167.7303095368845</c:v>
                </c:pt>
                <c:pt idx="88">
                  <c:v>167.33214497528832</c:v>
                </c:pt>
                <c:pt idx="89">
                  <c:v>167.21945689181769</c:v>
                </c:pt>
                <c:pt idx="90">
                  <c:v>166.8449031667582</c:v>
                </c:pt>
                <c:pt idx="91">
                  <c:v>167.83655830129965</c:v>
                </c:pt>
                <c:pt idx="92">
                  <c:v>167.34073073402891</c:v>
                </c:pt>
                <c:pt idx="93">
                  <c:v>167.3139002379645</c:v>
                </c:pt>
                <c:pt idx="94">
                  <c:v>167.9331480871316</c:v>
                </c:pt>
                <c:pt idx="95">
                  <c:v>167.30102159985358</c:v>
                </c:pt>
                <c:pt idx="96">
                  <c:v>166.96510378912686</c:v>
                </c:pt>
                <c:pt idx="97">
                  <c:v>167.15184404173533</c:v>
                </c:pt>
                <c:pt idx="98">
                  <c:v>167.27848398315945</c:v>
                </c:pt>
                <c:pt idx="99">
                  <c:v>167.14433150283728</c:v>
                </c:pt>
                <c:pt idx="100">
                  <c:v>168.02007889438039</c:v>
                </c:pt>
                <c:pt idx="101">
                  <c:v>167.33107175544575</c:v>
                </c:pt>
                <c:pt idx="102">
                  <c:v>167.29887516016839</c:v>
                </c:pt>
                <c:pt idx="103">
                  <c:v>167.34824327292699</c:v>
                </c:pt>
                <c:pt idx="104">
                  <c:v>167.24306772835439</c:v>
                </c:pt>
                <c:pt idx="105">
                  <c:v>167.36004869119532</c:v>
                </c:pt>
                <c:pt idx="106">
                  <c:v>167.16364946000365</c:v>
                </c:pt>
                <c:pt idx="107">
                  <c:v>167.30424125938129</c:v>
                </c:pt>
                <c:pt idx="108">
                  <c:v>166.88353908109099</c:v>
                </c:pt>
                <c:pt idx="109">
                  <c:v>167.54356928427603</c:v>
                </c:pt>
                <c:pt idx="110">
                  <c:v>167.44483305875895</c:v>
                </c:pt>
                <c:pt idx="111">
                  <c:v>166.96403056928426</c:v>
                </c:pt>
                <c:pt idx="112">
                  <c:v>166.10760113490755</c:v>
                </c:pt>
                <c:pt idx="113">
                  <c:v>167.29672872048326</c:v>
                </c:pt>
                <c:pt idx="114">
                  <c:v>167.80543492586492</c:v>
                </c:pt>
                <c:pt idx="115">
                  <c:v>167.66806278601501</c:v>
                </c:pt>
                <c:pt idx="116">
                  <c:v>165.21790188541095</c:v>
                </c:pt>
                <c:pt idx="117">
                  <c:v>165.13955683690278</c:v>
                </c:pt>
                <c:pt idx="118">
                  <c:v>164.97642742083104</c:v>
                </c:pt>
                <c:pt idx="119">
                  <c:v>164.96891488193302</c:v>
                </c:pt>
                <c:pt idx="120">
                  <c:v>165.19107138934652</c:v>
                </c:pt>
                <c:pt idx="121">
                  <c:v>167.49312795167492</c:v>
                </c:pt>
                <c:pt idx="122">
                  <c:v>167.25594636646531</c:v>
                </c:pt>
                <c:pt idx="123">
                  <c:v>167.39975782537067</c:v>
                </c:pt>
                <c:pt idx="124">
                  <c:v>167.26345890536334</c:v>
                </c:pt>
                <c:pt idx="125">
                  <c:v>167.30316803953872</c:v>
                </c:pt>
                <c:pt idx="126">
                  <c:v>167.41800256269451</c:v>
                </c:pt>
                <c:pt idx="127">
                  <c:v>167.25165348709501</c:v>
                </c:pt>
                <c:pt idx="128">
                  <c:v>167.51029946915617</c:v>
                </c:pt>
                <c:pt idx="129">
                  <c:v>167.23555518945636</c:v>
                </c:pt>
                <c:pt idx="130">
                  <c:v>167.22053011166025</c:v>
                </c:pt>
                <c:pt idx="131">
                  <c:v>166.85456214534139</c:v>
                </c:pt>
                <c:pt idx="132">
                  <c:v>167.35146293245469</c:v>
                </c:pt>
                <c:pt idx="133">
                  <c:v>167.25165348709498</c:v>
                </c:pt>
                <c:pt idx="134">
                  <c:v>167.65625736774663</c:v>
                </c:pt>
                <c:pt idx="135">
                  <c:v>167.54893538348892</c:v>
                </c:pt>
                <c:pt idx="136">
                  <c:v>167.2892161815852</c:v>
                </c:pt>
                <c:pt idx="137">
                  <c:v>167.11642778693027</c:v>
                </c:pt>
                <c:pt idx="138">
                  <c:v>167.41263646348159</c:v>
                </c:pt>
                <c:pt idx="139">
                  <c:v>167.33643785465861</c:v>
                </c:pt>
                <c:pt idx="140">
                  <c:v>167.27848398315945</c:v>
                </c:pt>
                <c:pt idx="141">
                  <c:v>167.29243584111296</c:v>
                </c:pt>
                <c:pt idx="142">
                  <c:v>167.32463243639029</c:v>
                </c:pt>
                <c:pt idx="143">
                  <c:v>167.24521416803952</c:v>
                </c:pt>
                <c:pt idx="144">
                  <c:v>167.26667856489109</c:v>
                </c:pt>
                <c:pt idx="145">
                  <c:v>167.30638769906642</c:v>
                </c:pt>
                <c:pt idx="146">
                  <c:v>164.47952663371774</c:v>
                </c:pt>
                <c:pt idx="147">
                  <c:v>167.36648801025081</c:v>
                </c:pt>
                <c:pt idx="148">
                  <c:v>167.20765147354933</c:v>
                </c:pt>
                <c:pt idx="149">
                  <c:v>167.39331850631521</c:v>
                </c:pt>
                <c:pt idx="150">
                  <c:v>150.31087827201173</c:v>
                </c:pt>
                <c:pt idx="151">
                  <c:v>166.84597638660077</c:v>
                </c:pt>
                <c:pt idx="152">
                  <c:v>165.72660809079261</c:v>
                </c:pt>
                <c:pt idx="153">
                  <c:v>163.71861376533042</c:v>
                </c:pt>
                <c:pt idx="154">
                  <c:v>152.43585356031485</c:v>
                </c:pt>
                <c:pt idx="155">
                  <c:v>152.54424876441516</c:v>
                </c:pt>
                <c:pt idx="156">
                  <c:v>154.86562328390994</c:v>
                </c:pt>
                <c:pt idx="157">
                  <c:v>150.78631466227347</c:v>
                </c:pt>
                <c:pt idx="158">
                  <c:v>147.9240373421197</c:v>
                </c:pt>
                <c:pt idx="159">
                  <c:v>141.98483873329673</c:v>
                </c:pt>
                <c:pt idx="160">
                  <c:v>143.50237159070105</c:v>
                </c:pt>
                <c:pt idx="161">
                  <c:v>139.50355445725793</c:v>
                </c:pt>
                <c:pt idx="162">
                  <c:v>142.58476862529744</c:v>
                </c:pt>
                <c:pt idx="163">
                  <c:v>114.74651912868387</c:v>
                </c:pt>
                <c:pt idx="164">
                  <c:v>99.961842577338473</c:v>
                </c:pt>
                <c:pt idx="165">
                  <c:v>94.011911770089696</c:v>
                </c:pt>
                <c:pt idx="166">
                  <c:v>68.488597473915434</c:v>
                </c:pt>
                <c:pt idx="167">
                  <c:v>66.937794801391178</c:v>
                </c:pt>
                <c:pt idx="168">
                  <c:v>66.754274208310449</c:v>
                </c:pt>
                <c:pt idx="169">
                  <c:v>66.957112758557571</c:v>
                </c:pt>
                <c:pt idx="170">
                  <c:v>66.953893099029841</c:v>
                </c:pt>
                <c:pt idx="171">
                  <c:v>67.042970345963766</c:v>
                </c:pt>
                <c:pt idx="172">
                  <c:v>66.936721581548596</c:v>
                </c:pt>
                <c:pt idx="173">
                  <c:v>66.93994124107634</c:v>
                </c:pt>
                <c:pt idx="174">
                  <c:v>66.994675453047776</c:v>
                </c:pt>
                <c:pt idx="175">
                  <c:v>66.953893099029841</c:v>
                </c:pt>
                <c:pt idx="176">
                  <c:v>66.958185978400152</c:v>
                </c:pt>
                <c:pt idx="177">
                  <c:v>67.00433443163098</c:v>
                </c:pt>
                <c:pt idx="178">
                  <c:v>66.95603953871499</c:v>
                </c:pt>
                <c:pt idx="179">
                  <c:v>67.009700530843858</c:v>
                </c:pt>
                <c:pt idx="180">
                  <c:v>66.947453779974381</c:v>
                </c:pt>
                <c:pt idx="181">
                  <c:v>66.988236133992302</c:v>
                </c:pt>
                <c:pt idx="182">
                  <c:v>66.927062602965407</c:v>
                </c:pt>
                <c:pt idx="183">
                  <c:v>66.947453779974381</c:v>
                </c:pt>
                <c:pt idx="184">
                  <c:v>67.461526084568916</c:v>
                </c:pt>
                <c:pt idx="185">
                  <c:v>66.382940142778693</c:v>
                </c:pt>
                <c:pt idx="186">
                  <c:v>67.09555811825004</c:v>
                </c:pt>
                <c:pt idx="187">
                  <c:v>66.933501922020866</c:v>
                </c:pt>
                <c:pt idx="188">
                  <c:v>66.95281987918726</c:v>
                </c:pt>
                <c:pt idx="189">
                  <c:v>67.464745744096646</c:v>
                </c:pt>
                <c:pt idx="190">
                  <c:v>66.487042467508701</c:v>
                </c:pt>
                <c:pt idx="191">
                  <c:v>5.6719668680212338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66.197273110012816</c:v>
                </c:pt>
                <c:pt idx="202">
                  <c:v>66.908817865641595</c:v>
                </c:pt>
                <c:pt idx="203">
                  <c:v>66.3636221856123</c:v>
                </c:pt>
                <c:pt idx="204">
                  <c:v>66.674855939959727</c:v>
                </c:pt>
                <c:pt idx="205">
                  <c:v>66.895939227530661</c:v>
                </c:pt>
                <c:pt idx="206">
                  <c:v>63.727794252242361</c:v>
                </c:pt>
                <c:pt idx="207">
                  <c:v>35.511771371041554</c:v>
                </c:pt>
                <c:pt idx="208">
                  <c:v>32.98111898224419</c:v>
                </c:pt>
                <c:pt idx="209">
                  <c:v>32.973606443346149</c:v>
                </c:pt>
                <c:pt idx="210">
                  <c:v>32.972533223503568</c:v>
                </c:pt>
                <c:pt idx="211">
                  <c:v>30.236895844773933</c:v>
                </c:pt>
                <c:pt idx="212">
                  <c:v>31.845652388797362</c:v>
                </c:pt>
                <c:pt idx="213">
                  <c:v>32.975752883031298</c:v>
                </c:pt>
                <c:pt idx="214">
                  <c:v>32.973606443346142</c:v>
                </c:pt>
                <c:pt idx="215">
                  <c:v>32.934970529013363</c:v>
                </c:pt>
                <c:pt idx="216">
                  <c:v>32.9521420464946</c:v>
                </c:pt>
                <c:pt idx="217">
                  <c:v>33.01975489657697</c:v>
                </c:pt>
                <c:pt idx="218">
                  <c:v>32.970386783818412</c:v>
                </c:pt>
                <c:pt idx="219">
                  <c:v>32.986485081457076</c:v>
                </c:pt>
                <c:pt idx="220">
                  <c:v>32.946775947281715</c:v>
                </c:pt>
                <c:pt idx="221">
                  <c:v>32.610858136555002</c:v>
                </c:pt>
                <c:pt idx="222">
                  <c:v>32.828721764598207</c:v>
                </c:pt>
                <c:pt idx="223">
                  <c:v>32.850186161449756</c:v>
                </c:pt>
                <c:pt idx="224">
                  <c:v>33.132442980047593</c:v>
                </c:pt>
                <c:pt idx="225">
                  <c:v>32.837307523338829</c:v>
                </c:pt>
                <c:pt idx="226">
                  <c:v>33.175371773750683</c:v>
                </c:pt>
                <c:pt idx="227">
                  <c:v>33.274107999267805</c:v>
                </c:pt>
                <c:pt idx="228">
                  <c:v>32.996144060040272</c:v>
                </c:pt>
                <c:pt idx="229">
                  <c:v>32.956434925864905</c:v>
                </c:pt>
                <c:pt idx="230">
                  <c:v>32.978972542559035</c:v>
                </c:pt>
                <c:pt idx="231">
                  <c:v>32.978972542559035</c:v>
                </c:pt>
                <c:pt idx="232">
                  <c:v>32.962874244920371</c:v>
                </c:pt>
                <c:pt idx="233">
                  <c:v>32.927457990115322</c:v>
                </c:pt>
                <c:pt idx="234">
                  <c:v>32.940336628226248</c:v>
                </c:pt>
                <c:pt idx="235">
                  <c:v>32.98755830129965</c:v>
                </c:pt>
                <c:pt idx="236">
                  <c:v>33.015462017206666</c:v>
                </c:pt>
                <c:pt idx="237">
                  <c:v>32.992924400512535</c:v>
                </c:pt>
                <c:pt idx="238">
                  <c:v>33.028340655317592</c:v>
                </c:pt>
                <c:pt idx="239">
                  <c:v>33.010095917993773</c:v>
                </c:pt>
                <c:pt idx="240">
                  <c:v>33.119564341936666</c:v>
                </c:pt>
                <c:pt idx="241">
                  <c:v>27.677266520226983</c:v>
                </c:pt>
                <c:pt idx="242">
                  <c:v>2.2537616694124109E-2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76-4C04-9390-13B05455FD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3815288"/>
        <c:axId val="873816272"/>
      </c:lineChart>
      <c:lineChart>
        <c:grouping val="standard"/>
        <c:varyColors val="0"/>
        <c:ser>
          <c:idx val="0"/>
          <c:order val="1"/>
          <c:tx>
            <c:strRef>
              <c:f>Hárok1!$BG$4</c:f>
              <c:strCache>
                <c:ptCount val="1"/>
                <c:pt idx="0">
                  <c:v>TTF D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árok1!$BF$5:$BF$2073</c:f>
              <c:numCache>
                <c:formatCode>m/d/yyyy</c:formatCode>
                <c:ptCount val="2069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</c:numCache>
            </c:numRef>
          </c:cat>
          <c:val>
            <c:numRef>
              <c:f>Hárok1!$BG$5:$BG$2073</c:f>
              <c:numCache>
                <c:formatCode>_(* #,##0.0_);_(* \(#,##0.0\);_(* "-"??_);_(@_)</c:formatCode>
                <c:ptCount val="2069"/>
                <c:pt idx="0">
                  <c:v>61.3</c:v>
                </c:pt>
                <c:pt idx="1">
                  <c:v>61.3</c:v>
                </c:pt>
                <c:pt idx="2">
                  <c:v>61.3</c:v>
                </c:pt>
                <c:pt idx="3">
                  <c:v>64.400000000000006</c:v>
                </c:pt>
                <c:pt idx="4">
                  <c:v>85.7</c:v>
                </c:pt>
                <c:pt idx="5">
                  <c:v>92.424999999999997</c:v>
                </c:pt>
                <c:pt idx="6">
                  <c:v>96.8</c:v>
                </c:pt>
                <c:pt idx="7">
                  <c:v>86.034999999999997</c:v>
                </c:pt>
                <c:pt idx="8">
                  <c:v>86.034999999999997</c:v>
                </c:pt>
                <c:pt idx="9">
                  <c:v>86.724999999999994</c:v>
                </c:pt>
                <c:pt idx="10">
                  <c:v>84</c:v>
                </c:pt>
                <c:pt idx="11">
                  <c:v>80.849999999999994</c:v>
                </c:pt>
                <c:pt idx="12">
                  <c:v>74.7</c:v>
                </c:pt>
                <c:pt idx="13">
                  <c:v>84.375</c:v>
                </c:pt>
                <c:pt idx="14">
                  <c:v>83</c:v>
                </c:pt>
                <c:pt idx="15">
                  <c:v>83</c:v>
                </c:pt>
                <c:pt idx="16">
                  <c:v>83.924999999999997</c:v>
                </c:pt>
                <c:pt idx="17">
                  <c:v>76.099999999999994</c:v>
                </c:pt>
                <c:pt idx="18">
                  <c:v>79.2</c:v>
                </c:pt>
                <c:pt idx="19">
                  <c:v>74.400000000000006</c:v>
                </c:pt>
                <c:pt idx="20">
                  <c:v>76</c:v>
                </c:pt>
                <c:pt idx="21">
                  <c:v>80.174999999999997</c:v>
                </c:pt>
                <c:pt idx="22">
                  <c:v>80.174999999999997</c:v>
                </c:pt>
                <c:pt idx="23">
                  <c:v>80.2</c:v>
                </c:pt>
                <c:pt idx="24">
                  <c:v>91.25</c:v>
                </c:pt>
                <c:pt idx="25">
                  <c:v>92.275000000000006</c:v>
                </c:pt>
                <c:pt idx="26">
                  <c:v>90.5</c:v>
                </c:pt>
                <c:pt idx="27">
                  <c:v>90.35</c:v>
                </c:pt>
                <c:pt idx="28">
                  <c:v>90.5</c:v>
                </c:pt>
                <c:pt idx="29">
                  <c:v>90.5</c:v>
                </c:pt>
                <c:pt idx="30">
                  <c:v>90.674999999999997</c:v>
                </c:pt>
                <c:pt idx="31">
                  <c:v>83</c:v>
                </c:pt>
                <c:pt idx="32">
                  <c:v>75.900000000000006</c:v>
                </c:pt>
                <c:pt idx="33">
                  <c:v>76.075000000000003</c:v>
                </c:pt>
                <c:pt idx="34">
                  <c:v>79.650000000000006</c:v>
                </c:pt>
                <c:pt idx="35">
                  <c:v>81.3</c:v>
                </c:pt>
                <c:pt idx="36">
                  <c:v>81.3</c:v>
                </c:pt>
                <c:pt idx="37">
                  <c:v>81.849999999999994</c:v>
                </c:pt>
                <c:pt idx="38">
                  <c:v>77.599999999999994</c:v>
                </c:pt>
                <c:pt idx="39">
                  <c:v>75.665000000000006</c:v>
                </c:pt>
                <c:pt idx="40">
                  <c:v>75.325000000000003</c:v>
                </c:pt>
                <c:pt idx="41">
                  <c:v>74.674999999999997</c:v>
                </c:pt>
                <c:pt idx="42">
                  <c:v>76.3</c:v>
                </c:pt>
                <c:pt idx="43">
                  <c:v>76.3</c:v>
                </c:pt>
                <c:pt idx="44">
                  <c:v>75.95</c:v>
                </c:pt>
                <c:pt idx="45">
                  <c:v>79.325000000000003</c:v>
                </c:pt>
                <c:pt idx="46">
                  <c:v>68.075000000000003</c:v>
                </c:pt>
                <c:pt idx="47">
                  <c:v>69.05</c:v>
                </c:pt>
                <c:pt idx="48">
                  <c:v>74</c:v>
                </c:pt>
                <c:pt idx="49">
                  <c:v>72.924999999999997</c:v>
                </c:pt>
                <c:pt idx="50">
                  <c:v>72.924999999999997</c:v>
                </c:pt>
                <c:pt idx="51">
                  <c:v>72.849999999999994</c:v>
                </c:pt>
                <c:pt idx="52">
                  <c:v>71.575000000000003</c:v>
                </c:pt>
                <c:pt idx="53">
                  <c:v>78.849999999999994</c:v>
                </c:pt>
                <c:pt idx="54">
                  <c:v>88.85</c:v>
                </c:pt>
                <c:pt idx="55">
                  <c:v>118</c:v>
                </c:pt>
                <c:pt idx="56">
                  <c:v>88.65</c:v>
                </c:pt>
                <c:pt idx="57">
                  <c:v>88.65</c:v>
                </c:pt>
                <c:pt idx="58">
                  <c:v>89.95</c:v>
                </c:pt>
                <c:pt idx="59">
                  <c:v>98.525000000000006</c:v>
                </c:pt>
                <c:pt idx="60">
                  <c:v>123</c:v>
                </c:pt>
                <c:pt idx="61">
                  <c:v>175.05</c:v>
                </c:pt>
                <c:pt idx="62">
                  <c:v>140</c:v>
                </c:pt>
                <c:pt idx="63">
                  <c:v>191</c:v>
                </c:pt>
                <c:pt idx="64">
                  <c:v>191</c:v>
                </c:pt>
                <c:pt idx="65">
                  <c:v>194.82499999999999</c:v>
                </c:pt>
                <c:pt idx="66">
                  <c:v>212.07499999999999</c:v>
                </c:pt>
                <c:pt idx="67">
                  <c:v>208.95</c:v>
                </c:pt>
                <c:pt idx="68">
                  <c:v>148.97499999999999</c:v>
                </c:pt>
                <c:pt idx="69">
                  <c:v>120.325</c:v>
                </c:pt>
                <c:pt idx="70">
                  <c:v>129</c:v>
                </c:pt>
                <c:pt idx="71">
                  <c:v>129</c:v>
                </c:pt>
                <c:pt idx="72">
                  <c:v>130.375</c:v>
                </c:pt>
                <c:pt idx="73">
                  <c:v>109.5</c:v>
                </c:pt>
                <c:pt idx="74">
                  <c:v>109.35</c:v>
                </c:pt>
                <c:pt idx="75">
                  <c:v>97.6</c:v>
                </c:pt>
                <c:pt idx="76">
                  <c:v>101</c:v>
                </c:pt>
                <c:pt idx="77">
                  <c:v>94.1</c:v>
                </c:pt>
                <c:pt idx="78">
                  <c:v>94.1</c:v>
                </c:pt>
                <c:pt idx="79">
                  <c:v>95.35</c:v>
                </c:pt>
                <c:pt idx="80">
                  <c:v>91.6</c:v>
                </c:pt>
                <c:pt idx="81">
                  <c:v>94.625</c:v>
                </c:pt>
                <c:pt idx="82">
                  <c:v>109.935</c:v>
                </c:pt>
                <c:pt idx="83">
                  <c:v>98.724999999999994</c:v>
                </c:pt>
                <c:pt idx="84">
                  <c:v>92.75</c:v>
                </c:pt>
                <c:pt idx="85">
                  <c:v>92.75</c:v>
                </c:pt>
                <c:pt idx="86">
                  <c:v>95.5</c:v>
                </c:pt>
                <c:pt idx="87">
                  <c:v>102.75</c:v>
                </c:pt>
                <c:pt idx="88">
                  <c:v>106.3</c:v>
                </c:pt>
                <c:pt idx="89">
                  <c:v>115.75</c:v>
                </c:pt>
                <c:pt idx="90">
                  <c:v>124.5</c:v>
                </c:pt>
                <c:pt idx="91">
                  <c:v>111.45</c:v>
                </c:pt>
                <c:pt idx="92">
                  <c:v>111.45</c:v>
                </c:pt>
                <c:pt idx="93">
                  <c:v>111.7</c:v>
                </c:pt>
                <c:pt idx="94">
                  <c:v>109.25</c:v>
                </c:pt>
                <c:pt idx="95">
                  <c:v>107.125</c:v>
                </c:pt>
                <c:pt idx="96">
                  <c:v>106.15</c:v>
                </c:pt>
                <c:pt idx="97">
                  <c:v>103.05</c:v>
                </c:pt>
                <c:pt idx="98">
                  <c:v>101.6</c:v>
                </c:pt>
                <c:pt idx="99">
                  <c:v>101.6</c:v>
                </c:pt>
                <c:pt idx="100">
                  <c:v>102.5</c:v>
                </c:pt>
                <c:pt idx="101">
                  <c:v>100.925</c:v>
                </c:pt>
                <c:pt idx="102">
                  <c:v>102.55</c:v>
                </c:pt>
                <c:pt idx="103">
                  <c:v>103.6</c:v>
                </c:pt>
                <c:pt idx="104">
                  <c:v>82</c:v>
                </c:pt>
                <c:pt idx="105">
                  <c:v>82</c:v>
                </c:pt>
                <c:pt idx="106">
                  <c:v>82</c:v>
                </c:pt>
                <c:pt idx="107">
                  <c:v>82</c:v>
                </c:pt>
                <c:pt idx="108">
                  <c:v>87</c:v>
                </c:pt>
                <c:pt idx="109">
                  <c:v>91.2</c:v>
                </c:pt>
                <c:pt idx="110">
                  <c:v>91.025000000000006</c:v>
                </c:pt>
                <c:pt idx="111">
                  <c:v>98.15</c:v>
                </c:pt>
                <c:pt idx="112">
                  <c:v>91.3</c:v>
                </c:pt>
                <c:pt idx="113">
                  <c:v>91.3</c:v>
                </c:pt>
                <c:pt idx="114">
                  <c:v>92.025000000000006</c:v>
                </c:pt>
                <c:pt idx="115">
                  <c:v>93.635000000000005</c:v>
                </c:pt>
                <c:pt idx="116">
                  <c:v>97.41</c:v>
                </c:pt>
                <c:pt idx="117">
                  <c:v>103.55</c:v>
                </c:pt>
                <c:pt idx="118">
                  <c:v>99.174999999999997</c:v>
                </c:pt>
                <c:pt idx="119">
                  <c:v>95.3</c:v>
                </c:pt>
                <c:pt idx="120">
                  <c:v>95.3</c:v>
                </c:pt>
                <c:pt idx="121">
                  <c:v>95.3</c:v>
                </c:pt>
                <c:pt idx="122">
                  <c:v>95.5</c:v>
                </c:pt>
                <c:pt idx="123">
                  <c:v>96.224999999999994</c:v>
                </c:pt>
                <c:pt idx="124">
                  <c:v>101.7</c:v>
                </c:pt>
                <c:pt idx="125">
                  <c:v>96</c:v>
                </c:pt>
                <c:pt idx="126">
                  <c:v>86.525000000000006</c:v>
                </c:pt>
                <c:pt idx="127">
                  <c:v>86.525000000000006</c:v>
                </c:pt>
                <c:pt idx="128">
                  <c:v>86.974999999999994</c:v>
                </c:pt>
                <c:pt idx="129">
                  <c:v>83</c:v>
                </c:pt>
                <c:pt idx="130">
                  <c:v>81.5</c:v>
                </c:pt>
                <c:pt idx="131">
                  <c:v>82.075000000000003</c:v>
                </c:pt>
                <c:pt idx="132">
                  <c:v>88</c:v>
                </c:pt>
                <c:pt idx="133">
                  <c:v>93.5</c:v>
                </c:pt>
                <c:pt idx="134">
                  <c:v>93.5</c:v>
                </c:pt>
                <c:pt idx="135">
                  <c:v>93.05</c:v>
                </c:pt>
                <c:pt idx="136">
                  <c:v>92.5</c:v>
                </c:pt>
                <c:pt idx="137">
                  <c:v>92</c:v>
                </c:pt>
                <c:pt idx="138">
                  <c:v>89.075000000000003</c:v>
                </c:pt>
                <c:pt idx="139">
                  <c:v>88.4</c:v>
                </c:pt>
                <c:pt idx="140">
                  <c:v>83.25</c:v>
                </c:pt>
                <c:pt idx="141">
                  <c:v>83.25</c:v>
                </c:pt>
                <c:pt idx="142">
                  <c:v>84.95</c:v>
                </c:pt>
                <c:pt idx="143">
                  <c:v>77.349999999999994</c:v>
                </c:pt>
                <c:pt idx="144">
                  <c:v>79.075000000000003</c:v>
                </c:pt>
                <c:pt idx="145">
                  <c:v>81.650000000000006</c:v>
                </c:pt>
                <c:pt idx="146">
                  <c:v>82.275000000000006</c:v>
                </c:pt>
                <c:pt idx="147">
                  <c:v>82.7</c:v>
                </c:pt>
                <c:pt idx="148">
                  <c:v>82.7</c:v>
                </c:pt>
                <c:pt idx="149">
                  <c:v>83.1</c:v>
                </c:pt>
                <c:pt idx="150">
                  <c:v>87.1</c:v>
                </c:pt>
                <c:pt idx="151">
                  <c:v>85.9</c:v>
                </c:pt>
                <c:pt idx="152">
                  <c:v>75.599999999999994</c:v>
                </c:pt>
                <c:pt idx="153">
                  <c:v>75.599999999999994</c:v>
                </c:pt>
                <c:pt idx="154">
                  <c:v>75.599999999999994</c:v>
                </c:pt>
                <c:pt idx="155">
                  <c:v>75.599999999999994</c:v>
                </c:pt>
                <c:pt idx="156">
                  <c:v>76.275000000000006</c:v>
                </c:pt>
                <c:pt idx="157">
                  <c:v>77.325000000000003</c:v>
                </c:pt>
                <c:pt idx="158">
                  <c:v>78.3</c:v>
                </c:pt>
                <c:pt idx="159">
                  <c:v>75.5</c:v>
                </c:pt>
                <c:pt idx="160">
                  <c:v>83.25</c:v>
                </c:pt>
                <c:pt idx="161">
                  <c:v>79.125</c:v>
                </c:pt>
                <c:pt idx="162">
                  <c:v>79.125</c:v>
                </c:pt>
                <c:pt idx="163">
                  <c:v>80.125</c:v>
                </c:pt>
                <c:pt idx="164">
                  <c:v>80.3</c:v>
                </c:pt>
                <c:pt idx="165">
                  <c:v>95.5</c:v>
                </c:pt>
                <c:pt idx="166">
                  <c:v>109.7</c:v>
                </c:pt>
                <c:pt idx="167">
                  <c:v>117</c:v>
                </c:pt>
                <c:pt idx="168">
                  <c:v>106.4</c:v>
                </c:pt>
                <c:pt idx="169">
                  <c:v>106.4</c:v>
                </c:pt>
                <c:pt idx="170">
                  <c:v>106.75</c:v>
                </c:pt>
                <c:pt idx="171">
                  <c:v>118</c:v>
                </c:pt>
                <c:pt idx="172">
                  <c:v>123.55</c:v>
                </c:pt>
                <c:pt idx="173">
                  <c:v>125.45</c:v>
                </c:pt>
                <c:pt idx="174">
                  <c:v>128.6</c:v>
                </c:pt>
                <c:pt idx="175">
                  <c:v>126.02500000000001</c:v>
                </c:pt>
                <c:pt idx="176">
                  <c:v>126.02500000000001</c:v>
                </c:pt>
                <c:pt idx="177">
                  <c:v>126.3</c:v>
                </c:pt>
                <c:pt idx="178">
                  <c:v>129.07499999999999</c:v>
                </c:pt>
                <c:pt idx="179">
                  <c:v>130</c:v>
                </c:pt>
                <c:pt idx="180">
                  <c:v>139.19999999999999</c:v>
                </c:pt>
                <c:pt idx="181">
                  <c:v>144.80000000000001</c:v>
                </c:pt>
                <c:pt idx="182">
                  <c:v>145.5</c:v>
                </c:pt>
                <c:pt idx="183">
                  <c:v>145.5</c:v>
                </c:pt>
                <c:pt idx="184">
                  <c:v>145.85</c:v>
                </c:pt>
                <c:pt idx="185">
                  <c:v>162.32499999999999</c:v>
                </c:pt>
                <c:pt idx="186">
                  <c:v>160</c:v>
                </c:pt>
                <c:pt idx="187">
                  <c:v>175.25</c:v>
                </c:pt>
                <c:pt idx="188">
                  <c:v>185.52500000000001</c:v>
                </c:pt>
                <c:pt idx="189">
                  <c:v>167.55</c:v>
                </c:pt>
                <c:pt idx="190">
                  <c:v>167.55</c:v>
                </c:pt>
                <c:pt idx="191">
                  <c:v>169</c:v>
                </c:pt>
                <c:pt idx="192">
                  <c:v>162</c:v>
                </c:pt>
                <c:pt idx="193">
                  <c:v>173.5</c:v>
                </c:pt>
                <c:pt idx="194">
                  <c:v>181.82499999999999</c:v>
                </c:pt>
                <c:pt idx="195">
                  <c:v>169.535</c:v>
                </c:pt>
                <c:pt idx="196">
                  <c:v>157.5</c:v>
                </c:pt>
                <c:pt idx="197">
                  <c:v>157.5</c:v>
                </c:pt>
                <c:pt idx="198">
                  <c:v>154.5</c:v>
                </c:pt>
                <c:pt idx="199">
                  <c:v>155.32499999999999</c:v>
                </c:pt>
                <c:pt idx="200">
                  <c:v>151.30000000000001</c:v>
                </c:pt>
                <c:pt idx="201">
                  <c:v>154.19999999999999</c:v>
                </c:pt>
                <c:pt idx="202">
                  <c:v>154.77500000000001</c:v>
                </c:pt>
                <c:pt idx="203">
                  <c:v>159.38999999999999</c:v>
                </c:pt>
                <c:pt idx="204">
                  <c:v>159.38999999999999</c:v>
                </c:pt>
                <c:pt idx="205">
                  <c:v>160.5</c:v>
                </c:pt>
                <c:pt idx="206">
                  <c:v>174.45</c:v>
                </c:pt>
                <c:pt idx="207">
                  <c:v>201.72499999999999</c:v>
                </c:pt>
                <c:pt idx="208">
                  <c:v>203.9</c:v>
                </c:pt>
                <c:pt idx="209">
                  <c:v>200</c:v>
                </c:pt>
                <c:pt idx="210">
                  <c:v>191.5</c:v>
                </c:pt>
                <c:pt idx="211">
                  <c:v>191.5</c:v>
                </c:pt>
                <c:pt idx="212">
                  <c:v>191.8</c:v>
                </c:pt>
                <c:pt idx="213">
                  <c:v>198.3</c:v>
                </c:pt>
                <c:pt idx="214">
                  <c:v>200.3</c:v>
                </c:pt>
                <c:pt idx="215">
                  <c:v>196</c:v>
                </c:pt>
                <c:pt idx="216">
                  <c:v>198.15</c:v>
                </c:pt>
                <c:pt idx="217">
                  <c:v>192.5</c:v>
                </c:pt>
                <c:pt idx="218">
                  <c:v>192.5</c:v>
                </c:pt>
                <c:pt idx="219">
                  <c:v>192.35</c:v>
                </c:pt>
                <c:pt idx="220">
                  <c:v>190.875</c:v>
                </c:pt>
                <c:pt idx="221">
                  <c:v>192.35</c:v>
                </c:pt>
                <c:pt idx="222">
                  <c:v>202.47499999999999</c:v>
                </c:pt>
                <c:pt idx="223">
                  <c:v>206.15</c:v>
                </c:pt>
                <c:pt idx="224">
                  <c:v>200</c:v>
                </c:pt>
                <c:pt idx="225">
                  <c:v>200</c:v>
                </c:pt>
                <c:pt idx="226">
                  <c:v>199.97499999999999</c:v>
                </c:pt>
                <c:pt idx="227">
                  <c:v>220.52500000000001</c:v>
                </c:pt>
                <c:pt idx="228">
                  <c:v>223.4</c:v>
                </c:pt>
                <c:pt idx="229">
                  <c:v>226.02500000000001</c:v>
                </c:pt>
                <c:pt idx="230">
                  <c:v>238.7</c:v>
                </c:pt>
                <c:pt idx="231">
                  <c:v>244.4</c:v>
                </c:pt>
                <c:pt idx="232">
                  <c:v>244.4</c:v>
                </c:pt>
                <c:pt idx="233">
                  <c:v>245.8</c:v>
                </c:pt>
                <c:pt idx="234">
                  <c:v>282.02499999999998</c:v>
                </c:pt>
                <c:pt idx="235">
                  <c:v>264.5</c:v>
                </c:pt>
                <c:pt idx="236">
                  <c:v>292.5</c:v>
                </c:pt>
                <c:pt idx="237">
                  <c:v>308</c:v>
                </c:pt>
                <c:pt idx="238">
                  <c:v>304.2</c:v>
                </c:pt>
                <c:pt idx="239">
                  <c:v>304.2</c:v>
                </c:pt>
                <c:pt idx="240">
                  <c:v>304.2</c:v>
                </c:pt>
                <c:pt idx="241">
                  <c:v>305</c:v>
                </c:pt>
                <c:pt idx="242">
                  <c:v>244</c:v>
                </c:pt>
                <c:pt idx="243">
                  <c:v>#N/A</c:v>
                </c:pt>
                <c:pt idx="244">
                  <c:v>#N/A</c:v>
                </c:pt>
                <c:pt idx="245">
                  <c:v>#N/A</c:v>
                </c:pt>
                <c:pt idx="246">
                  <c:v>#N/A</c:v>
                </c:pt>
                <c:pt idx="247">
                  <c:v>#N/A</c:v>
                </c:pt>
                <c:pt idx="248">
                  <c:v>#N/A</c:v>
                </c:pt>
                <c:pt idx="249">
                  <c:v>#N/A</c:v>
                </c:pt>
                <c:pt idx="250">
                  <c:v>#N/A</c:v>
                </c:pt>
                <c:pt idx="251">
                  <c:v>#N/A</c:v>
                </c:pt>
                <c:pt idx="252">
                  <c:v>#N/A</c:v>
                </c:pt>
                <c:pt idx="253">
                  <c:v>#N/A</c:v>
                </c:pt>
                <c:pt idx="254">
                  <c:v>#N/A</c:v>
                </c:pt>
                <c:pt idx="255">
                  <c:v>#N/A</c:v>
                </c:pt>
                <c:pt idx="256">
                  <c:v>#N/A</c:v>
                </c:pt>
                <c:pt idx="257">
                  <c:v>#N/A</c:v>
                </c:pt>
                <c:pt idx="258">
                  <c:v>#N/A</c:v>
                </c:pt>
                <c:pt idx="259">
                  <c:v>#N/A</c:v>
                </c:pt>
                <c:pt idx="260">
                  <c:v>#N/A</c:v>
                </c:pt>
                <c:pt idx="261">
                  <c:v>#N/A</c:v>
                </c:pt>
                <c:pt idx="262">
                  <c:v>#N/A</c:v>
                </c:pt>
                <c:pt idx="263">
                  <c:v>#N/A</c:v>
                </c:pt>
                <c:pt idx="264">
                  <c:v>#N/A</c:v>
                </c:pt>
                <c:pt idx="265">
                  <c:v>#N/A</c:v>
                </c:pt>
                <c:pt idx="266">
                  <c:v>#N/A</c:v>
                </c:pt>
                <c:pt idx="267">
                  <c:v>#N/A</c:v>
                </c:pt>
                <c:pt idx="268">
                  <c:v>#N/A</c:v>
                </c:pt>
                <c:pt idx="269">
                  <c:v>#N/A</c:v>
                </c:pt>
                <c:pt idx="270">
                  <c:v>#N/A</c:v>
                </c:pt>
                <c:pt idx="271">
                  <c:v>#N/A</c:v>
                </c:pt>
                <c:pt idx="272">
                  <c:v>#N/A</c:v>
                </c:pt>
                <c:pt idx="273">
                  <c:v>#N/A</c:v>
                </c:pt>
                <c:pt idx="274">
                  <c:v>#N/A</c:v>
                </c:pt>
                <c:pt idx="275">
                  <c:v>#N/A</c:v>
                </c:pt>
                <c:pt idx="276">
                  <c:v>#N/A</c:v>
                </c:pt>
                <c:pt idx="277">
                  <c:v>#N/A</c:v>
                </c:pt>
                <c:pt idx="278">
                  <c:v>#N/A</c:v>
                </c:pt>
                <c:pt idx="279">
                  <c:v>#N/A</c:v>
                </c:pt>
                <c:pt idx="280">
                  <c:v>#N/A</c:v>
                </c:pt>
                <c:pt idx="281">
                  <c:v>#N/A</c:v>
                </c:pt>
                <c:pt idx="282">
                  <c:v>#N/A</c:v>
                </c:pt>
                <c:pt idx="283">
                  <c:v>#N/A</c:v>
                </c:pt>
                <c:pt idx="284">
                  <c:v>#N/A</c:v>
                </c:pt>
                <c:pt idx="285">
                  <c:v>#N/A</c:v>
                </c:pt>
                <c:pt idx="286">
                  <c:v>#N/A</c:v>
                </c:pt>
                <c:pt idx="287">
                  <c:v>#N/A</c:v>
                </c:pt>
                <c:pt idx="288">
                  <c:v>#N/A</c:v>
                </c:pt>
                <c:pt idx="289">
                  <c:v>#N/A</c:v>
                </c:pt>
                <c:pt idx="290">
                  <c:v>#N/A</c:v>
                </c:pt>
                <c:pt idx="291">
                  <c:v>#N/A</c:v>
                </c:pt>
                <c:pt idx="292">
                  <c:v>#N/A</c:v>
                </c:pt>
                <c:pt idx="293">
                  <c:v>#N/A</c:v>
                </c:pt>
                <c:pt idx="294">
                  <c:v>#N/A</c:v>
                </c:pt>
                <c:pt idx="295">
                  <c:v>#N/A</c:v>
                </c:pt>
                <c:pt idx="296">
                  <c:v>#N/A</c:v>
                </c:pt>
                <c:pt idx="297">
                  <c:v>#N/A</c:v>
                </c:pt>
                <c:pt idx="298">
                  <c:v>#N/A</c:v>
                </c:pt>
                <c:pt idx="299">
                  <c:v>#N/A</c:v>
                </c:pt>
                <c:pt idx="300">
                  <c:v>#N/A</c:v>
                </c:pt>
                <c:pt idx="301">
                  <c:v>#N/A</c:v>
                </c:pt>
                <c:pt idx="302">
                  <c:v>#N/A</c:v>
                </c:pt>
                <c:pt idx="303">
                  <c:v>#N/A</c:v>
                </c:pt>
                <c:pt idx="304">
                  <c:v>#N/A</c:v>
                </c:pt>
                <c:pt idx="305">
                  <c:v>#N/A</c:v>
                </c:pt>
                <c:pt idx="306">
                  <c:v>#N/A</c:v>
                </c:pt>
                <c:pt idx="307">
                  <c:v>#N/A</c:v>
                </c:pt>
                <c:pt idx="308">
                  <c:v>#N/A</c:v>
                </c:pt>
                <c:pt idx="309">
                  <c:v>#N/A</c:v>
                </c:pt>
                <c:pt idx="310">
                  <c:v>#N/A</c:v>
                </c:pt>
                <c:pt idx="311">
                  <c:v>#N/A</c:v>
                </c:pt>
                <c:pt idx="312">
                  <c:v>#N/A</c:v>
                </c:pt>
                <c:pt idx="313">
                  <c:v>#N/A</c:v>
                </c:pt>
                <c:pt idx="314">
                  <c:v>#N/A</c:v>
                </c:pt>
                <c:pt idx="315">
                  <c:v>#N/A</c:v>
                </c:pt>
                <c:pt idx="316">
                  <c:v>#N/A</c:v>
                </c:pt>
                <c:pt idx="317">
                  <c:v>#N/A</c:v>
                </c:pt>
                <c:pt idx="318">
                  <c:v>#N/A</c:v>
                </c:pt>
                <c:pt idx="319">
                  <c:v>#N/A</c:v>
                </c:pt>
                <c:pt idx="320">
                  <c:v>#N/A</c:v>
                </c:pt>
                <c:pt idx="321">
                  <c:v>#N/A</c:v>
                </c:pt>
                <c:pt idx="322">
                  <c:v>#N/A</c:v>
                </c:pt>
                <c:pt idx="323">
                  <c:v>#N/A</c:v>
                </c:pt>
                <c:pt idx="324">
                  <c:v>#N/A</c:v>
                </c:pt>
                <c:pt idx="325">
                  <c:v>#N/A</c:v>
                </c:pt>
                <c:pt idx="326">
                  <c:v>#N/A</c:v>
                </c:pt>
                <c:pt idx="327">
                  <c:v>#N/A</c:v>
                </c:pt>
                <c:pt idx="328">
                  <c:v>#N/A</c:v>
                </c:pt>
                <c:pt idx="329">
                  <c:v>#N/A</c:v>
                </c:pt>
                <c:pt idx="330">
                  <c:v>#N/A</c:v>
                </c:pt>
                <c:pt idx="331">
                  <c:v>#N/A</c:v>
                </c:pt>
                <c:pt idx="332">
                  <c:v>#N/A</c:v>
                </c:pt>
                <c:pt idx="333">
                  <c:v>#N/A</c:v>
                </c:pt>
                <c:pt idx="334">
                  <c:v>#N/A</c:v>
                </c:pt>
                <c:pt idx="335">
                  <c:v>#N/A</c:v>
                </c:pt>
                <c:pt idx="336">
                  <c:v>#N/A</c:v>
                </c:pt>
                <c:pt idx="337">
                  <c:v>#N/A</c:v>
                </c:pt>
                <c:pt idx="338">
                  <c:v>#N/A</c:v>
                </c:pt>
                <c:pt idx="339">
                  <c:v>#N/A</c:v>
                </c:pt>
                <c:pt idx="340">
                  <c:v>#N/A</c:v>
                </c:pt>
                <c:pt idx="341">
                  <c:v>#N/A</c:v>
                </c:pt>
                <c:pt idx="342">
                  <c:v>#N/A</c:v>
                </c:pt>
                <c:pt idx="343">
                  <c:v>#N/A</c:v>
                </c:pt>
                <c:pt idx="344">
                  <c:v>#N/A</c:v>
                </c:pt>
                <c:pt idx="345">
                  <c:v>#N/A</c:v>
                </c:pt>
                <c:pt idx="346">
                  <c:v>#N/A</c:v>
                </c:pt>
                <c:pt idx="347">
                  <c:v>#N/A</c:v>
                </c:pt>
                <c:pt idx="348">
                  <c:v>#N/A</c:v>
                </c:pt>
                <c:pt idx="349">
                  <c:v>#N/A</c:v>
                </c:pt>
                <c:pt idx="350">
                  <c:v>#N/A</c:v>
                </c:pt>
                <c:pt idx="351">
                  <c:v>#N/A</c:v>
                </c:pt>
                <c:pt idx="352">
                  <c:v>#N/A</c:v>
                </c:pt>
                <c:pt idx="353">
                  <c:v>#N/A</c:v>
                </c:pt>
                <c:pt idx="354">
                  <c:v>#N/A</c:v>
                </c:pt>
                <c:pt idx="355">
                  <c:v>#N/A</c:v>
                </c:pt>
                <c:pt idx="356">
                  <c:v>#N/A</c:v>
                </c:pt>
                <c:pt idx="357">
                  <c:v>#N/A</c:v>
                </c:pt>
                <c:pt idx="358">
                  <c:v>#N/A</c:v>
                </c:pt>
                <c:pt idx="359">
                  <c:v>#N/A</c:v>
                </c:pt>
                <c:pt idx="360">
                  <c:v>#N/A</c:v>
                </c:pt>
                <c:pt idx="361">
                  <c:v>#N/A</c:v>
                </c:pt>
                <c:pt idx="362">
                  <c:v>#N/A</c:v>
                </c:pt>
                <c:pt idx="363">
                  <c:v>#N/A</c:v>
                </c:pt>
                <c:pt idx="364">
                  <c:v>#N/A</c:v>
                </c:pt>
                <c:pt idx="365">
                  <c:v>#N/A</c:v>
                </c:pt>
                <c:pt idx="366">
                  <c:v>#N/A</c:v>
                </c:pt>
                <c:pt idx="367">
                  <c:v>#N/A</c:v>
                </c:pt>
                <c:pt idx="368">
                  <c:v>#N/A</c:v>
                </c:pt>
                <c:pt idx="369">
                  <c:v>#N/A</c:v>
                </c:pt>
                <c:pt idx="370">
                  <c:v>#N/A</c:v>
                </c:pt>
                <c:pt idx="371">
                  <c:v>#N/A</c:v>
                </c:pt>
                <c:pt idx="372">
                  <c:v>#N/A</c:v>
                </c:pt>
                <c:pt idx="373">
                  <c:v>#N/A</c:v>
                </c:pt>
                <c:pt idx="374">
                  <c:v>#N/A</c:v>
                </c:pt>
                <c:pt idx="375">
                  <c:v>#N/A</c:v>
                </c:pt>
                <c:pt idx="376">
                  <c:v>#N/A</c:v>
                </c:pt>
                <c:pt idx="377">
                  <c:v>#N/A</c:v>
                </c:pt>
                <c:pt idx="378">
                  <c:v>#N/A</c:v>
                </c:pt>
                <c:pt idx="379">
                  <c:v>#N/A</c:v>
                </c:pt>
                <c:pt idx="380">
                  <c:v>#N/A</c:v>
                </c:pt>
                <c:pt idx="381">
                  <c:v>#N/A</c:v>
                </c:pt>
                <c:pt idx="382">
                  <c:v>#N/A</c:v>
                </c:pt>
                <c:pt idx="383">
                  <c:v>#N/A</c:v>
                </c:pt>
                <c:pt idx="384">
                  <c:v>#N/A</c:v>
                </c:pt>
                <c:pt idx="385">
                  <c:v>#N/A</c:v>
                </c:pt>
                <c:pt idx="386">
                  <c:v>#N/A</c:v>
                </c:pt>
                <c:pt idx="387">
                  <c:v>#N/A</c:v>
                </c:pt>
                <c:pt idx="388">
                  <c:v>#N/A</c:v>
                </c:pt>
                <c:pt idx="389">
                  <c:v>#N/A</c:v>
                </c:pt>
                <c:pt idx="390">
                  <c:v>#N/A</c:v>
                </c:pt>
                <c:pt idx="391">
                  <c:v>#N/A</c:v>
                </c:pt>
                <c:pt idx="392">
                  <c:v>#N/A</c:v>
                </c:pt>
                <c:pt idx="393">
                  <c:v>#N/A</c:v>
                </c:pt>
                <c:pt idx="394">
                  <c:v>#N/A</c:v>
                </c:pt>
                <c:pt idx="395">
                  <c:v>#N/A</c:v>
                </c:pt>
                <c:pt idx="396">
                  <c:v>#N/A</c:v>
                </c:pt>
                <c:pt idx="397">
                  <c:v>#N/A</c:v>
                </c:pt>
                <c:pt idx="398">
                  <c:v>#N/A</c:v>
                </c:pt>
                <c:pt idx="399">
                  <c:v>#N/A</c:v>
                </c:pt>
                <c:pt idx="400">
                  <c:v>#N/A</c:v>
                </c:pt>
                <c:pt idx="401">
                  <c:v>#N/A</c:v>
                </c:pt>
                <c:pt idx="402">
                  <c:v>#N/A</c:v>
                </c:pt>
                <c:pt idx="403">
                  <c:v>#N/A</c:v>
                </c:pt>
                <c:pt idx="404">
                  <c:v>#N/A</c:v>
                </c:pt>
                <c:pt idx="405">
                  <c:v>#N/A</c:v>
                </c:pt>
                <c:pt idx="406">
                  <c:v>#N/A</c:v>
                </c:pt>
                <c:pt idx="407">
                  <c:v>#N/A</c:v>
                </c:pt>
                <c:pt idx="408">
                  <c:v>#N/A</c:v>
                </c:pt>
                <c:pt idx="409">
                  <c:v>#N/A</c:v>
                </c:pt>
                <c:pt idx="410">
                  <c:v>#N/A</c:v>
                </c:pt>
                <c:pt idx="411">
                  <c:v>#N/A</c:v>
                </c:pt>
                <c:pt idx="412">
                  <c:v>#N/A</c:v>
                </c:pt>
                <c:pt idx="413">
                  <c:v>#N/A</c:v>
                </c:pt>
                <c:pt idx="414">
                  <c:v>#N/A</c:v>
                </c:pt>
                <c:pt idx="415">
                  <c:v>#N/A</c:v>
                </c:pt>
                <c:pt idx="416">
                  <c:v>#N/A</c:v>
                </c:pt>
                <c:pt idx="417">
                  <c:v>#N/A</c:v>
                </c:pt>
                <c:pt idx="418">
                  <c:v>#N/A</c:v>
                </c:pt>
                <c:pt idx="419">
                  <c:v>#N/A</c:v>
                </c:pt>
                <c:pt idx="420">
                  <c:v>#N/A</c:v>
                </c:pt>
                <c:pt idx="421">
                  <c:v>#N/A</c:v>
                </c:pt>
                <c:pt idx="422">
                  <c:v>#N/A</c:v>
                </c:pt>
                <c:pt idx="423">
                  <c:v>#N/A</c:v>
                </c:pt>
                <c:pt idx="424">
                  <c:v>#N/A</c:v>
                </c:pt>
                <c:pt idx="425">
                  <c:v>#N/A</c:v>
                </c:pt>
                <c:pt idx="426">
                  <c:v>#N/A</c:v>
                </c:pt>
                <c:pt idx="427">
                  <c:v>#N/A</c:v>
                </c:pt>
                <c:pt idx="428">
                  <c:v>#N/A</c:v>
                </c:pt>
                <c:pt idx="429">
                  <c:v>#N/A</c:v>
                </c:pt>
                <c:pt idx="430">
                  <c:v>#N/A</c:v>
                </c:pt>
                <c:pt idx="431">
                  <c:v>#N/A</c:v>
                </c:pt>
                <c:pt idx="432">
                  <c:v>#N/A</c:v>
                </c:pt>
                <c:pt idx="433">
                  <c:v>#N/A</c:v>
                </c:pt>
                <c:pt idx="434">
                  <c:v>#N/A</c:v>
                </c:pt>
                <c:pt idx="435">
                  <c:v>#N/A</c:v>
                </c:pt>
                <c:pt idx="436">
                  <c:v>#N/A</c:v>
                </c:pt>
                <c:pt idx="437">
                  <c:v>#N/A</c:v>
                </c:pt>
                <c:pt idx="438">
                  <c:v>#N/A</c:v>
                </c:pt>
                <c:pt idx="439">
                  <c:v>#N/A</c:v>
                </c:pt>
                <c:pt idx="440">
                  <c:v>#N/A</c:v>
                </c:pt>
                <c:pt idx="441">
                  <c:v>#N/A</c:v>
                </c:pt>
                <c:pt idx="442">
                  <c:v>#N/A</c:v>
                </c:pt>
                <c:pt idx="443">
                  <c:v>#N/A</c:v>
                </c:pt>
                <c:pt idx="444">
                  <c:v>#N/A</c:v>
                </c:pt>
                <c:pt idx="445">
                  <c:v>#N/A</c:v>
                </c:pt>
                <c:pt idx="446">
                  <c:v>#N/A</c:v>
                </c:pt>
                <c:pt idx="447">
                  <c:v>#N/A</c:v>
                </c:pt>
                <c:pt idx="448">
                  <c:v>#N/A</c:v>
                </c:pt>
                <c:pt idx="449">
                  <c:v>#N/A</c:v>
                </c:pt>
                <c:pt idx="450">
                  <c:v>#N/A</c:v>
                </c:pt>
                <c:pt idx="451">
                  <c:v>#N/A</c:v>
                </c:pt>
                <c:pt idx="452">
                  <c:v>#N/A</c:v>
                </c:pt>
                <c:pt idx="453">
                  <c:v>#N/A</c:v>
                </c:pt>
                <c:pt idx="454">
                  <c:v>#N/A</c:v>
                </c:pt>
                <c:pt idx="455">
                  <c:v>#N/A</c:v>
                </c:pt>
                <c:pt idx="456">
                  <c:v>#N/A</c:v>
                </c:pt>
                <c:pt idx="457">
                  <c:v>#N/A</c:v>
                </c:pt>
                <c:pt idx="458">
                  <c:v>#N/A</c:v>
                </c:pt>
                <c:pt idx="459">
                  <c:v>#N/A</c:v>
                </c:pt>
                <c:pt idx="460">
                  <c:v>#N/A</c:v>
                </c:pt>
                <c:pt idx="461">
                  <c:v>#N/A</c:v>
                </c:pt>
                <c:pt idx="462">
                  <c:v>#N/A</c:v>
                </c:pt>
                <c:pt idx="463">
                  <c:v>#N/A</c:v>
                </c:pt>
                <c:pt idx="464">
                  <c:v>#N/A</c:v>
                </c:pt>
                <c:pt idx="465">
                  <c:v>#N/A</c:v>
                </c:pt>
                <c:pt idx="466">
                  <c:v>#N/A</c:v>
                </c:pt>
                <c:pt idx="467">
                  <c:v>#N/A</c:v>
                </c:pt>
                <c:pt idx="468">
                  <c:v>#N/A</c:v>
                </c:pt>
                <c:pt idx="469">
                  <c:v>#N/A</c:v>
                </c:pt>
                <c:pt idx="470">
                  <c:v>#N/A</c:v>
                </c:pt>
                <c:pt idx="471">
                  <c:v>#N/A</c:v>
                </c:pt>
                <c:pt idx="472">
                  <c:v>#N/A</c:v>
                </c:pt>
                <c:pt idx="473">
                  <c:v>#N/A</c:v>
                </c:pt>
                <c:pt idx="474">
                  <c:v>#N/A</c:v>
                </c:pt>
                <c:pt idx="475">
                  <c:v>#N/A</c:v>
                </c:pt>
                <c:pt idx="476">
                  <c:v>#N/A</c:v>
                </c:pt>
                <c:pt idx="477">
                  <c:v>#N/A</c:v>
                </c:pt>
                <c:pt idx="478">
                  <c:v>#N/A</c:v>
                </c:pt>
                <c:pt idx="479">
                  <c:v>#N/A</c:v>
                </c:pt>
                <c:pt idx="480">
                  <c:v>#N/A</c:v>
                </c:pt>
                <c:pt idx="481">
                  <c:v>#N/A</c:v>
                </c:pt>
                <c:pt idx="482">
                  <c:v>#N/A</c:v>
                </c:pt>
                <c:pt idx="483">
                  <c:v>#N/A</c:v>
                </c:pt>
                <c:pt idx="484">
                  <c:v>#N/A</c:v>
                </c:pt>
                <c:pt idx="485">
                  <c:v>#N/A</c:v>
                </c:pt>
                <c:pt idx="486">
                  <c:v>#N/A</c:v>
                </c:pt>
                <c:pt idx="487">
                  <c:v>#N/A</c:v>
                </c:pt>
                <c:pt idx="488">
                  <c:v>#N/A</c:v>
                </c:pt>
                <c:pt idx="489">
                  <c:v>#N/A</c:v>
                </c:pt>
                <c:pt idx="490">
                  <c:v>#N/A</c:v>
                </c:pt>
                <c:pt idx="491">
                  <c:v>#N/A</c:v>
                </c:pt>
                <c:pt idx="492">
                  <c:v>#N/A</c:v>
                </c:pt>
                <c:pt idx="493">
                  <c:v>#N/A</c:v>
                </c:pt>
                <c:pt idx="494">
                  <c:v>#N/A</c:v>
                </c:pt>
                <c:pt idx="495">
                  <c:v>#N/A</c:v>
                </c:pt>
                <c:pt idx="496">
                  <c:v>#N/A</c:v>
                </c:pt>
                <c:pt idx="497">
                  <c:v>#N/A</c:v>
                </c:pt>
                <c:pt idx="498">
                  <c:v>#N/A</c:v>
                </c:pt>
                <c:pt idx="499">
                  <c:v>#N/A</c:v>
                </c:pt>
                <c:pt idx="500">
                  <c:v>#N/A</c:v>
                </c:pt>
                <c:pt idx="501">
                  <c:v>#N/A</c:v>
                </c:pt>
                <c:pt idx="502">
                  <c:v>#N/A</c:v>
                </c:pt>
                <c:pt idx="503">
                  <c:v>#N/A</c:v>
                </c:pt>
                <c:pt idx="504">
                  <c:v>#N/A</c:v>
                </c:pt>
                <c:pt idx="505">
                  <c:v>#N/A</c:v>
                </c:pt>
                <c:pt idx="506">
                  <c:v>#N/A</c:v>
                </c:pt>
                <c:pt idx="507">
                  <c:v>#N/A</c:v>
                </c:pt>
                <c:pt idx="508">
                  <c:v>#N/A</c:v>
                </c:pt>
                <c:pt idx="509">
                  <c:v>#N/A</c:v>
                </c:pt>
                <c:pt idx="510">
                  <c:v>#N/A</c:v>
                </c:pt>
                <c:pt idx="511">
                  <c:v>#N/A</c:v>
                </c:pt>
                <c:pt idx="512">
                  <c:v>#N/A</c:v>
                </c:pt>
                <c:pt idx="513">
                  <c:v>#N/A</c:v>
                </c:pt>
                <c:pt idx="514">
                  <c:v>#N/A</c:v>
                </c:pt>
                <c:pt idx="515">
                  <c:v>#N/A</c:v>
                </c:pt>
                <c:pt idx="516">
                  <c:v>#N/A</c:v>
                </c:pt>
                <c:pt idx="517">
                  <c:v>#N/A</c:v>
                </c:pt>
                <c:pt idx="518">
                  <c:v>#N/A</c:v>
                </c:pt>
                <c:pt idx="519">
                  <c:v>#N/A</c:v>
                </c:pt>
                <c:pt idx="520">
                  <c:v>#N/A</c:v>
                </c:pt>
                <c:pt idx="521">
                  <c:v>#N/A</c:v>
                </c:pt>
                <c:pt idx="522">
                  <c:v>#N/A</c:v>
                </c:pt>
                <c:pt idx="523">
                  <c:v>#N/A</c:v>
                </c:pt>
                <c:pt idx="524">
                  <c:v>#N/A</c:v>
                </c:pt>
                <c:pt idx="525">
                  <c:v>#N/A</c:v>
                </c:pt>
                <c:pt idx="526">
                  <c:v>#N/A</c:v>
                </c:pt>
                <c:pt idx="527">
                  <c:v>#N/A</c:v>
                </c:pt>
                <c:pt idx="528">
                  <c:v>#N/A</c:v>
                </c:pt>
                <c:pt idx="529">
                  <c:v>#N/A</c:v>
                </c:pt>
                <c:pt idx="530">
                  <c:v>#N/A</c:v>
                </c:pt>
                <c:pt idx="531">
                  <c:v>#N/A</c:v>
                </c:pt>
                <c:pt idx="532">
                  <c:v>#N/A</c:v>
                </c:pt>
                <c:pt idx="533">
                  <c:v>#N/A</c:v>
                </c:pt>
                <c:pt idx="534">
                  <c:v>#N/A</c:v>
                </c:pt>
                <c:pt idx="535">
                  <c:v>#N/A</c:v>
                </c:pt>
                <c:pt idx="536">
                  <c:v>#N/A</c:v>
                </c:pt>
                <c:pt idx="537">
                  <c:v>#N/A</c:v>
                </c:pt>
                <c:pt idx="538">
                  <c:v>#N/A</c:v>
                </c:pt>
                <c:pt idx="539">
                  <c:v>#N/A</c:v>
                </c:pt>
                <c:pt idx="540">
                  <c:v>#N/A</c:v>
                </c:pt>
                <c:pt idx="541">
                  <c:v>#N/A</c:v>
                </c:pt>
                <c:pt idx="542">
                  <c:v>#N/A</c:v>
                </c:pt>
                <c:pt idx="543">
                  <c:v>#N/A</c:v>
                </c:pt>
                <c:pt idx="544">
                  <c:v>#N/A</c:v>
                </c:pt>
                <c:pt idx="545">
                  <c:v>#N/A</c:v>
                </c:pt>
                <c:pt idx="546">
                  <c:v>#N/A</c:v>
                </c:pt>
                <c:pt idx="547">
                  <c:v>#N/A</c:v>
                </c:pt>
                <c:pt idx="548">
                  <c:v>#N/A</c:v>
                </c:pt>
                <c:pt idx="549">
                  <c:v>#N/A</c:v>
                </c:pt>
                <c:pt idx="550">
                  <c:v>#N/A</c:v>
                </c:pt>
                <c:pt idx="551">
                  <c:v>#N/A</c:v>
                </c:pt>
                <c:pt idx="552">
                  <c:v>#N/A</c:v>
                </c:pt>
                <c:pt idx="553">
                  <c:v>#N/A</c:v>
                </c:pt>
                <c:pt idx="554">
                  <c:v>#N/A</c:v>
                </c:pt>
                <c:pt idx="555">
                  <c:v>#N/A</c:v>
                </c:pt>
                <c:pt idx="556">
                  <c:v>#N/A</c:v>
                </c:pt>
                <c:pt idx="557">
                  <c:v>#N/A</c:v>
                </c:pt>
                <c:pt idx="558">
                  <c:v>#N/A</c:v>
                </c:pt>
                <c:pt idx="559">
                  <c:v>#N/A</c:v>
                </c:pt>
                <c:pt idx="560">
                  <c:v>#N/A</c:v>
                </c:pt>
                <c:pt idx="561">
                  <c:v>#N/A</c:v>
                </c:pt>
                <c:pt idx="562">
                  <c:v>#N/A</c:v>
                </c:pt>
                <c:pt idx="563">
                  <c:v>#N/A</c:v>
                </c:pt>
                <c:pt idx="564">
                  <c:v>#N/A</c:v>
                </c:pt>
                <c:pt idx="565">
                  <c:v>#N/A</c:v>
                </c:pt>
                <c:pt idx="566">
                  <c:v>#N/A</c:v>
                </c:pt>
                <c:pt idx="567">
                  <c:v>#N/A</c:v>
                </c:pt>
                <c:pt idx="568">
                  <c:v>#N/A</c:v>
                </c:pt>
                <c:pt idx="569">
                  <c:v>#N/A</c:v>
                </c:pt>
                <c:pt idx="570">
                  <c:v>#N/A</c:v>
                </c:pt>
                <c:pt idx="571">
                  <c:v>#N/A</c:v>
                </c:pt>
                <c:pt idx="572">
                  <c:v>#N/A</c:v>
                </c:pt>
                <c:pt idx="573">
                  <c:v>#N/A</c:v>
                </c:pt>
                <c:pt idx="574">
                  <c:v>#N/A</c:v>
                </c:pt>
                <c:pt idx="575">
                  <c:v>#N/A</c:v>
                </c:pt>
                <c:pt idx="576">
                  <c:v>#N/A</c:v>
                </c:pt>
                <c:pt idx="577">
                  <c:v>#N/A</c:v>
                </c:pt>
                <c:pt idx="578">
                  <c:v>#N/A</c:v>
                </c:pt>
                <c:pt idx="579">
                  <c:v>#N/A</c:v>
                </c:pt>
                <c:pt idx="580">
                  <c:v>#N/A</c:v>
                </c:pt>
                <c:pt idx="581">
                  <c:v>#N/A</c:v>
                </c:pt>
                <c:pt idx="582">
                  <c:v>#N/A</c:v>
                </c:pt>
                <c:pt idx="583">
                  <c:v>#N/A</c:v>
                </c:pt>
                <c:pt idx="584">
                  <c:v>#N/A</c:v>
                </c:pt>
                <c:pt idx="585">
                  <c:v>#N/A</c:v>
                </c:pt>
                <c:pt idx="586">
                  <c:v>#N/A</c:v>
                </c:pt>
                <c:pt idx="587">
                  <c:v>#N/A</c:v>
                </c:pt>
                <c:pt idx="588">
                  <c:v>#N/A</c:v>
                </c:pt>
                <c:pt idx="589">
                  <c:v>#N/A</c:v>
                </c:pt>
                <c:pt idx="590">
                  <c:v>#N/A</c:v>
                </c:pt>
                <c:pt idx="591">
                  <c:v>#N/A</c:v>
                </c:pt>
                <c:pt idx="592">
                  <c:v>#N/A</c:v>
                </c:pt>
                <c:pt idx="593">
                  <c:v>#N/A</c:v>
                </c:pt>
                <c:pt idx="594">
                  <c:v>#N/A</c:v>
                </c:pt>
                <c:pt idx="595">
                  <c:v>#N/A</c:v>
                </c:pt>
                <c:pt idx="596">
                  <c:v>#N/A</c:v>
                </c:pt>
                <c:pt idx="597">
                  <c:v>#N/A</c:v>
                </c:pt>
                <c:pt idx="598">
                  <c:v>#N/A</c:v>
                </c:pt>
                <c:pt idx="599">
                  <c:v>#N/A</c:v>
                </c:pt>
                <c:pt idx="600">
                  <c:v>#N/A</c:v>
                </c:pt>
                <c:pt idx="601">
                  <c:v>#N/A</c:v>
                </c:pt>
                <c:pt idx="602">
                  <c:v>#N/A</c:v>
                </c:pt>
                <c:pt idx="603">
                  <c:v>#N/A</c:v>
                </c:pt>
                <c:pt idx="604">
                  <c:v>#N/A</c:v>
                </c:pt>
                <c:pt idx="605">
                  <c:v>#N/A</c:v>
                </c:pt>
                <c:pt idx="606">
                  <c:v>#N/A</c:v>
                </c:pt>
                <c:pt idx="607">
                  <c:v>#N/A</c:v>
                </c:pt>
                <c:pt idx="608">
                  <c:v>#N/A</c:v>
                </c:pt>
                <c:pt idx="609">
                  <c:v>#N/A</c:v>
                </c:pt>
                <c:pt idx="610">
                  <c:v>#N/A</c:v>
                </c:pt>
                <c:pt idx="611">
                  <c:v>#N/A</c:v>
                </c:pt>
                <c:pt idx="612">
                  <c:v>#N/A</c:v>
                </c:pt>
                <c:pt idx="613">
                  <c:v>#N/A</c:v>
                </c:pt>
                <c:pt idx="614">
                  <c:v>#N/A</c:v>
                </c:pt>
                <c:pt idx="615">
                  <c:v>#N/A</c:v>
                </c:pt>
                <c:pt idx="616">
                  <c:v>#N/A</c:v>
                </c:pt>
                <c:pt idx="617">
                  <c:v>#N/A</c:v>
                </c:pt>
                <c:pt idx="618">
                  <c:v>#N/A</c:v>
                </c:pt>
                <c:pt idx="619">
                  <c:v>#N/A</c:v>
                </c:pt>
                <c:pt idx="620">
                  <c:v>#N/A</c:v>
                </c:pt>
                <c:pt idx="621">
                  <c:v>#N/A</c:v>
                </c:pt>
                <c:pt idx="622">
                  <c:v>#N/A</c:v>
                </c:pt>
                <c:pt idx="623">
                  <c:v>#N/A</c:v>
                </c:pt>
                <c:pt idx="624">
                  <c:v>#N/A</c:v>
                </c:pt>
                <c:pt idx="625">
                  <c:v>#N/A</c:v>
                </c:pt>
                <c:pt idx="626">
                  <c:v>#N/A</c:v>
                </c:pt>
                <c:pt idx="627">
                  <c:v>#N/A</c:v>
                </c:pt>
                <c:pt idx="628">
                  <c:v>#N/A</c:v>
                </c:pt>
                <c:pt idx="629">
                  <c:v>#N/A</c:v>
                </c:pt>
                <c:pt idx="630">
                  <c:v>#N/A</c:v>
                </c:pt>
                <c:pt idx="631">
                  <c:v>#N/A</c:v>
                </c:pt>
                <c:pt idx="632">
                  <c:v>#N/A</c:v>
                </c:pt>
                <c:pt idx="633">
                  <c:v>#N/A</c:v>
                </c:pt>
                <c:pt idx="634">
                  <c:v>#N/A</c:v>
                </c:pt>
                <c:pt idx="635">
                  <c:v>#N/A</c:v>
                </c:pt>
                <c:pt idx="636">
                  <c:v>#N/A</c:v>
                </c:pt>
                <c:pt idx="637">
                  <c:v>#N/A</c:v>
                </c:pt>
                <c:pt idx="638">
                  <c:v>#N/A</c:v>
                </c:pt>
                <c:pt idx="639">
                  <c:v>#N/A</c:v>
                </c:pt>
                <c:pt idx="640">
                  <c:v>#N/A</c:v>
                </c:pt>
                <c:pt idx="641">
                  <c:v>#N/A</c:v>
                </c:pt>
                <c:pt idx="642">
                  <c:v>#N/A</c:v>
                </c:pt>
                <c:pt idx="643">
                  <c:v>#N/A</c:v>
                </c:pt>
                <c:pt idx="644">
                  <c:v>#N/A</c:v>
                </c:pt>
                <c:pt idx="645">
                  <c:v>#N/A</c:v>
                </c:pt>
                <c:pt idx="646">
                  <c:v>#N/A</c:v>
                </c:pt>
                <c:pt idx="647">
                  <c:v>#N/A</c:v>
                </c:pt>
                <c:pt idx="648">
                  <c:v>#N/A</c:v>
                </c:pt>
                <c:pt idx="649">
                  <c:v>#N/A</c:v>
                </c:pt>
                <c:pt idx="650">
                  <c:v>#N/A</c:v>
                </c:pt>
                <c:pt idx="651">
                  <c:v>#N/A</c:v>
                </c:pt>
                <c:pt idx="652">
                  <c:v>#N/A</c:v>
                </c:pt>
                <c:pt idx="653">
                  <c:v>#N/A</c:v>
                </c:pt>
                <c:pt idx="654">
                  <c:v>#N/A</c:v>
                </c:pt>
                <c:pt idx="655">
                  <c:v>#N/A</c:v>
                </c:pt>
                <c:pt idx="656">
                  <c:v>#N/A</c:v>
                </c:pt>
                <c:pt idx="657">
                  <c:v>#N/A</c:v>
                </c:pt>
                <c:pt idx="658">
                  <c:v>#N/A</c:v>
                </c:pt>
                <c:pt idx="659">
                  <c:v>#N/A</c:v>
                </c:pt>
                <c:pt idx="660">
                  <c:v>#N/A</c:v>
                </c:pt>
                <c:pt idx="661">
                  <c:v>#N/A</c:v>
                </c:pt>
                <c:pt idx="662">
                  <c:v>#N/A</c:v>
                </c:pt>
                <c:pt idx="663">
                  <c:v>#N/A</c:v>
                </c:pt>
                <c:pt idx="664">
                  <c:v>#N/A</c:v>
                </c:pt>
                <c:pt idx="665">
                  <c:v>#N/A</c:v>
                </c:pt>
                <c:pt idx="666">
                  <c:v>#N/A</c:v>
                </c:pt>
                <c:pt idx="667">
                  <c:v>#N/A</c:v>
                </c:pt>
                <c:pt idx="668">
                  <c:v>#N/A</c:v>
                </c:pt>
                <c:pt idx="669">
                  <c:v>#N/A</c:v>
                </c:pt>
                <c:pt idx="670">
                  <c:v>#N/A</c:v>
                </c:pt>
                <c:pt idx="671">
                  <c:v>#N/A</c:v>
                </c:pt>
                <c:pt idx="672">
                  <c:v>#N/A</c:v>
                </c:pt>
                <c:pt idx="673">
                  <c:v>#N/A</c:v>
                </c:pt>
                <c:pt idx="674">
                  <c:v>#N/A</c:v>
                </c:pt>
                <c:pt idx="675">
                  <c:v>#N/A</c:v>
                </c:pt>
                <c:pt idx="676">
                  <c:v>#N/A</c:v>
                </c:pt>
                <c:pt idx="677">
                  <c:v>#N/A</c:v>
                </c:pt>
                <c:pt idx="678">
                  <c:v>#N/A</c:v>
                </c:pt>
                <c:pt idx="679">
                  <c:v>#N/A</c:v>
                </c:pt>
                <c:pt idx="680">
                  <c:v>#N/A</c:v>
                </c:pt>
                <c:pt idx="681">
                  <c:v>#N/A</c:v>
                </c:pt>
                <c:pt idx="682">
                  <c:v>#N/A</c:v>
                </c:pt>
                <c:pt idx="683">
                  <c:v>#N/A</c:v>
                </c:pt>
                <c:pt idx="684">
                  <c:v>#N/A</c:v>
                </c:pt>
                <c:pt idx="685">
                  <c:v>#N/A</c:v>
                </c:pt>
                <c:pt idx="686">
                  <c:v>#N/A</c:v>
                </c:pt>
                <c:pt idx="687">
                  <c:v>#N/A</c:v>
                </c:pt>
                <c:pt idx="688">
                  <c:v>#N/A</c:v>
                </c:pt>
                <c:pt idx="689">
                  <c:v>#N/A</c:v>
                </c:pt>
                <c:pt idx="690">
                  <c:v>#N/A</c:v>
                </c:pt>
                <c:pt idx="691">
                  <c:v>#N/A</c:v>
                </c:pt>
                <c:pt idx="692">
                  <c:v>#N/A</c:v>
                </c:pt>
                <c:pt idx="693">
                  <c:v>#N/A</c:v>
                </c:pt>
                <c:pt idx="694">
                  <c:v>#N/A</c:v>
                </c:pt>
                <c:pt idx="695">
                  <c:v>#N/A</c:v>
                </c:pt>
                <c:pt idx="696">
                  <c:v>#N/A</c:v>
                </c:pt>
                <c:pt idx="697">
                  <c:v>#N/A</c:v>
                </c:pt>
                <c:pt idx="698">
                  <c:v>#N/A</c:v>
                </c:pt>
                <c:pt idx="699">
                  <c:v>#N/A</c:v>
                </c:pt>
                <c:pt idx="700">
                  <c:v>#N/A</c:v>
                </c:pt>
                <c:pt idx="701">
                  <c:v>#N/A</c:v>
                </c:pt>
                <c:pt idx="702">
                  <c:v>#N/A</c:v>
                </c:pt>
                <c:pt idx="703">
                  <c:v>#N/A</c:v>
                </c:pt>
                <c:pt idx="704">
                  <c:v>#N/A</c:v>
                </c:pt>
                <c:pt idx="705">
                  <c:v>#N/A</c:v>
                </c:pt>
                <c:pt idx="706">
                  <c:v>#N/A</c:v>
                </c:pt>
                <c:pt idx="707">
                  <c:v>#N/A</c:v>
                </c:pt>
                <c:pt idx="708">
                  <c:v>#N/A</c:v>
                </c:pt>
                <c:pt idx="709">
                  <c:v>#N/A</c:v>
                </c:pt>
                <c:pt idx="710">
                  <c:v>#N/A</c:v>
                </c:pt>
                <c:pt idx="711">
                  <c:v>#N/A</c:v>
                </c:pt>
                <c:pt idx="712">
                  <c:v>#N/A</c:v>
                </c:pt>
                <c:pt idx="713">
                  <c:v>#N/A</c:v>
                </c:pt>
                <c:pt idx="714">
                  <c:v>#N/A</c:v>
                </c:pt>
                <c:pt idx="715">
                  <c:v>#N/A</c:v>
                </c:pt>
                <c:pt idx="716">
                  <c:v>#N/A</c:v>
                </c:pt>
                <c:pt idx="717">
                  <c:v>#N/A</c:v>
                </c:pt>
                <c:pt idx="718">
                  <c:v>#N/A</c:v>
                </c:pt>
                <c:pt idx="719">
                  <c:v>#N/A</c:v>
                </c:pt>
                <c:pt idx="720">
                  <c:v>#N/A</c:v>
                </c:pt>
                <c:pt idx="721">
                  <c:v>#N/A</c:v>
                </c:pt>
                <c:pt idx="722">
                  <c:v>#N/A</c:v>
                </c:pt>
                <c:pt idx="723">
                  <c:v>#N/A</c:v>
                </c:pt>
                <c:pt idx="724">
                  <c:v>#N/A</c:v>
                </c:pt>
                <c:pt idx="725">
                  <c:v>#N/A</c:v>
                </c:pt>
                <c:pt idx="726">
                  <c:v>#N/A</c:v>
                </c:pt>
                <c:pt idx="727">
                  <c:v>#N/A</c:v>
                </c:pt>
                <c:pt idx="728">
                  <c:v>#N/A</c:v>
                </c:pt>
                <c:pt idx="729">
                  <c:v>#N/A</c:v>
                </c:pt>
                <c:pt idx="730">
                  <c:v>#N/A</c:v>
                </c:pt>
                <c:pt idx="731">
                  <c:v>#N/A</c:v>
                </c:pt>
                <c:pt idx="732">
                  <c:v>#N/A</c:v>
                </c:pt>
                <c:pt idx="733">
                  <c:v>#N/A</c:v>
                </c:pt>
                <c:pt idx="734">
                  <c:v>#N/A</c:v>
                </c:pt>
                <c:pt idx="735">
                  <c:v>#N/A</c:v>
                </c:pt>
                <c:pt idx="736">
                  <c:v>#N/A</c:v>
                </c:pt>
                <c:pt idx="737">
                  <c:v>#N/A</c:v>
                </c:pt>
                <c:pt idx="738">
                  <c:v>#N/A</c:v>
                </c:pt>
                <c:pt idx="739">
                  <c:v>#N/A</c:v>
                </c:pt>
                <c:pt idx="740">
                  <c:v>#N/A</c:v>
                </c:pt>
                <c:pt idx="741">
                  <c:v>#N/A</c:v>
                </c:pt>
                <c:pt idx="742">
                  <c:v>#N/A</c:v>
                </c:pt>
                <c:pt idx="743">
                  <c:v>#N/A</c:v>
                </c:pt>
                <c:pt idx="744">
                  <c:v>#N/A</c:v>
                </c:pt>
                <c:pt idx="745">
                  <c:v>#N/A</c:v>
                </c:pt>
                <c:pt idx="746">
                  <c:v>#N/A</c:v>
                </c:pt>
                <c:pt idx="747">
                  <c:v>#N/A</c:v>
                </c:pt>
                <c:pt idx="748">
                  <c:v>#N/A</c:v>
                </c:pt>
                <c:pt idx="749">
                  <c:v>#N/A</c:v>
                </c:pt>
                <c:pt idx="750">
                  <c:v>#N/A</c:v>
                </c:pt>
                <c:pt idx="751">
                  <c:v>#N/A</c:v>
                </c:pt>
                <c:pt idx="752">
                  <c:v>#N/A</c:v>
                </c:pt>
                <c:pt idx="753">
                  <c:v>#N/A</c:v>
                </c:pt>
                <c:pt idx="754">
                  <c:v>#N/A</c:v>
                </c:pt>
                <c:pt idx="755">
                  <c:v>#N/A</c:v>
                </c:pt>
                <c:pt idx="756">
                  <c:v>#N/A</c:v>
                </c:pt>
                <c:pt idx="757">
                  <c:v>#N/A</c:v>
                </c:pt>
                <c:pt idx="758">
                  <c:v>#N/A</c:v>
                </c:pt>
                <c:pt idx="759">
                  <c:v>#N/A</c:v>
                </c:pt>
                <c:pt idx="760">
                  <c:v>#N/A</c:v>
                </c:pt>
                <c:pt idx="761">
                  <c:v>#N/A</c:v>
                </c:pt>
                <c:pt idx="762">
                  <c:v>#N/A</c:v>
                </c:pt>
                <c:pt idx="763">
                  <c:v>#N/A</c:v>
                </c:pt>
                <c:pt idx="764">
                  <c:v>#N/A</c:v>
                </c:pt>
                <c:pt idx="765">
                  <c:v>#N/A</c:v>
                </c:pt>
                <c:pt idx="766">
                  <c:v>#N/A</c:v>
                </c:pt>
                <c:pt idx="767">
                  <c:v>#N/A</c:v>
                </c:pt>
                <c:pt idx="768">
                  <c:v>#N/A</c:v>
                </c:pt>
                <c:pt idx="769">
                  <c:v>#N/A</c:v>
                </c:pt>
                <c:pt idx="770">
                  <c:v>#N/A</c:v>
                </c:pt>
                <c:pt idx="771">
                  <c:v>#N/A</c:v>
                </c:pt>
                <c:pt idx="772">
                  <c:v>#N/A</c:v>
                </c:pt>
                <c:pt idx="773">
                  <c:v>#N/A</c:v>
                </c:pt>
                <c:pt idx="774">
                  <c:v>#N/A</c:v>
                </c:pt>
                <c:pt idx="775">
                  <c:v>#N/A</c:v>
                </c:pt>
                <c:pt idx="776">
                  <c:v>#N/A</c:v>
                </c:pt>
                <c:pt idx="777">
                  <c:v>#N/A</c:v>
                </c:pt>
                <c:pt idx="778">
                  <c:v>#N/A</c:v>
                </c:pt>
                <c:pt idx="779">
                  <c:v>#N/A</c:v>
                </c:pt>
                <c:pt idx="780">
                  <c:v>#N/A</c:v>
                </c:pt>
                <c:pt idx="781">
                  <c:v>#N/A</c:v>
                </c:pt>
                <c:pt idx="782">
                  <c:v>#N/A</c:v>
                </c:pt>
                <c:pt idx="783">
                  <c:v>#N/A</c:v>
                </c:pt>
                <c:pt idx="784">
                  <c:v>#N/A</c:v>
                </c:pt>
                <c:pt idx="785">
                  <c:v>#N/A</c:v>
                </c:pt>
                <c:pt idx="786">
                  <c:v>#N/A</c:v>
                </c:pt>
                <c:pt idx="787">
                  <c:v>#N/A</c:v>
                </c:pt>
                <c:pt idx="788">
                  <c:v>#N/A</c:v>
                </c:pt>
                <c:pt idx="789">
                  <c:v>#N/A</c:v>
                </c:pt>
                <c:pt idx="790">
                  <c:v>#N/A</c:v>
                </c:pt>
                <c:pt idx="791">
                  <c:v>#N/A</c:v>
                </c:pt>
                <c:pt idx="792">
                  <c:v>#N/A</c:v>
                </c:pt>
                <c:pt idx="793">
                  <c:v>#N/A</c:v>
                </c:pt>
                <c:pt idx="794">
                  <c:v>#N/A</c:v>
                </c:pt>
                <c:pt idx="795">
                  <c:v>#N/A</c:v>
                </c:pt>
                <c:pt idx="796">
                  <c:v>#N/A</c:v>
                </c:pt>
                <c:pt idx="797">
                  <c:v>#N/A</c:v>
                </c:pt>
                <c:pt idx="798">
                  <c:v>#N/A</c:v>
                </c:pt>
                <c:pt idx="799">
                  <c:v>#N/A</c:v>
                </c:pt>
                <c:pt idx="800">
                  <c:v>#N/A</c:v>
                </c:pt>
                <c:pt idx="801">
                  <c:v>#N/A</c:v>
                </c:pt>
                <c:pt idx="802">
                  <c:v>#N/A</c:v>
                </c:pt>
                <c:pt idx="803">
                  <c:v>#N/A</c:v>
                </c:pt>
                <c:pt idx="804">
                  <c:v>#N/A</c:v>
                </c:pt>
                <c:pt idx="805">
                  <c:v>#N/A</c:v>
                </c:pt>
                <c:pt idx="806">
                  <c:v>#N/A</c:v>
                </c:pt>
                <c:pt idx="807">
                  <c:v>#N/A</c:v>
                </c:pt>
                <c:pt idx="808">
                  <c:v>#N/A</c:v>
                </c:pt>
                <c:pt idx="809">
                  <c:v>#N/A</c:v>
                </c:pt>
                <c:pt idx="810">
                  <c:v>#N/A</c:v>
                </c:pt>
                <c:pt idx="811">
                  <c:v>#N/A</c:v>
                </c:pt>
                <c:pt idx="812">
                  <c:v>#N/A</c:v>
                </c:pt>
                <c:pt idx="813">
                  <c:v>#N/A</c:v>
                </c:pt>
                <c:pt idx="814">
                  <c:v>#N/A</c:v>
                </c:pt>
                <c:pt idx="815">
                  <c:v>#N/A</c:v>
                </c:pt>
                <c:pt idx="816">
                  <c:v>#N/A</c:v>
                </c:pt>
                <c:pt idx="817">
                  <c:v>#N/A</c:v>
                </c:pt>
                <c:pt idx="818">
                  <c:v>#N/A</c:v>
                </c:pt>
                <c:pt idx="819">
                  <c:v>#N/A</c:v>
                </c:pt>
                <c:pt idx="820">
                  <c:v>#N/A</c:v>
                </c:pt>
                <c:pt idx="821">
                  <c:v>#N/A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  <c:pt idx="826">
                  <c:v>#N/A</c:v>
                </c:pt>
                <c:pt idx="827">
                  <c:v>#N/A</c:v>
                </c:pt>
                <c:pt idx="828">
                  <c:v>#N/A</c:v>
                </c:pt>
                <c:pt idx="829">
                  <c:v>#N/A</c:v>
                </c:pt>
                <c:pt idx="830">
                  <c:v>#N/A</c:v>
                </c:pt>
                <c:pt idx="831">
                  <c:v>#N/A</c:v>
                </c:pt>
                <c:pt idx="832">
                  <c:v>#N/A</c:v>
                </c:pt>
                <c:pt idx="833">
                  <c:v>#N/A</c:v>
                </c:pt>
                <c:pt idx="834">
                  <c:v>#N/A</c:v>
                </c:pt>
                <c:pt idx="835">
                  <c:v>#N/A</c:v>
                </c:pt>
                <c:pt idx="836">
                  <c:v>#N/A</c:v>
                </c:pt>
                <c:pt idx="837">
                  <c:v>#N/A</c:v>
                </c:pt>
                <c:pt idx="838">
                  <c:v>#N/A</c:v>
                </c:pt>
                <c:pt idx="839">
                  <c:v>#N/A</c:v>
                </c:pt>
                <c:pt idx="840">
                  <c:v>#N/A</c:v>
                </c:pt>
                <c:pt idx="841">
                  <c:v>#N/A</c:v>
                </c:pt>
                <c:pt idx="842">
                  <c:v>#N/A</c:v>
                </c:pt>
                <c:pt idx="843">
                  <c:v>#N/A</c:v>
                </c:pt>
                <c:pt idx="844">
                  <c:v>#N/A</c:v>
                </c:pt>
                <c:pt idx="845">
                  <c:v>#N/A</c:v>
                </c:pt>
                <c:pt idx="846">
                  <c:v>#N/A</c:v>
                </c:pt>
                <c:pt idx="847">
                  <c:v>#N/A</c:v>
                </c:pt>
                <c:pt idx="848">
                  <c:v>#N/A</c:v>
                </c:pt>
                <c:pt idx="849">
                  <c:v>#N/A</c:v>
                </c:pt>
                <c:pt idx="850">
                  <c:v>#N/A</c:v>
                </c:pt>
                <c:pt idx="851">
                  <c:v>#N/A</c:v>
                </c:pt>
                <c:pt idx="852">
                  <c:v>#N/A</c:v>
                </c:pt>
                <c:pt idx="853">
                  <c:v>#N/A</c:v>
                </c:pt>
                <c:pt idx="854">
                  <c:v>#N/A</c:v>
                </c:pt>
                <c:pt idx="855">
                  <c:v>#N/A</c:v>
                </c:pt>
                <c:pt idx="856">
                  <c:v>#N/A</c:v>
                </c:pt>
                <c:pt idx="857">
                  <c:v>#N/A</c:v>
                </c:pt>
                <c:pt idx="858">
                  <c:v>#N/A</c:v>
                </c:pt>
                <c:pt idx="859">
                  <c:v>#N/A</c:v>
                </c:pt>
                <c:pt idx="860">
                  <c:v>#N/A</c:v>
                </c:pt>
                <c:pt idx="861">
                  <c:v>#N/A</c:v>
                </c:pt>
                <c:pt idx="862">
                  <c:v>#N/A</c:v>
                </c:pt>
                <c:pt idx="863">
                  <c:v>#N/A</c:v>
                </c:pt>
                <c:pt idx="864">
                  <c:v>#N/A</c:v>
                </c:pt>
                <c:pt idx="865">
                  <c:v>#N/A</c:v>
                </c:pt>
                <c:pt idx="866">
                  <c:v>#N/A</c:v>
                </c:pt>
                <c:pt idx="867">
                  <c:v>#N/A</c:v>
                </c:pt>
                <c:pt idx="868">
                  <c:v>#N/A</c:v>
                </c:pt>
                <c:pt idx="869">
                  <c:v>#N/A</c:v>
                </c:pt>
                <c:pt idx="870">
                  <c:v>#N/A</c:v>
                </c:pt>
                <c:pt idx="871">
                  <c:v>#N/A</c:v>
                </c:pt>
                <c:pt idx="872">
                  <c:v>#N/A</c:v>
                </c:pt>
                <c:pt idx="873">
                  <c:v>#N/A</c:v>
                </c:pt>
                <c:pt idx="874">
                  <c:v>#N/A</c:v>
                </c:pt>
                <c:pt idx="875">
                  <c:v>#N/A</c:v>
                </c:pt>
                <c:pt idx="876">
                  <c:v>#N/A</c:v>
                </c:pt>
                <c:pt idx="877">
                  <c:v>#N/A</c:v>
                </c:pt>
                <c:pt idx="878">
                  <c:v>#N/A</c:v>
                </c:pt>
                <c:pt idx="879">
                  <c:v>#N/A</c:v>
                </c:pt>
                <c:pt idx="880">
                  <c:v>#N/A</c:v>
                </c:pt>
                <c:pt idx="881">
                  <c:v>#N/A</c:v>
                </c:pt>
                <c:pt idx="882">
                  <c:v>#N/A</c:v>
                </c:pt>
                <c:pt idx="883">
                  <c:v>#N/A</c:v>
                </c:pt>
                <c:pt idx="884">
                  <c:v>#N/A</c:v>
                </c:pt>
                <c:pt idx="885">
                  <c:v>#N/A</c:v>
                </c:pt>
                <c:pt idx="886">
                  <c:v>#N/A</c:v>
                </c:pt>
                <c:pt idx="887">
                  <c:v>#N/A</c:v>
                </c:pt>
                <c:pt idx="888">
                  <c:v>#N/A</c:v>
                </c:pt>
                <c:pt idx="889">
                  <c:v>#N/A</c:v>
                </c:pt>
                <c:pt idx="890">
                  <c:v>#N/A</c:v>
                </c:pt>
                <c:pt idx="891">
                  <c:v>#N/A</c:v>
                </c:pt>
                <c:pt idx="892">
                  <c:v>#N/A</c:v>
                </c:pt>
                <c:pt idx="893">
                  <c:v>#N/A</c:v>
                </c:pt>
                <c:pt idx="894">
                  <c:v>#N/A</c:v>
                </c:pt>
                <c:pt idx="895">
                  <c:v>#N/A</c:v>
                </c:pt>
                <c:pt idx="896">
                  <c:v>#N/A</c:v>
                </c:pt>
                <c:pt idx="897">
                  <c:v>#N/A</c:v>
                </c:pt>
                <c:pt idx="898">
                  <c:v>#N/A</c:v>
                </c:pt>
                <c:pt idx="899">
                  <c:v>#N/A</c:v>
                </c:pt>
                <c:pt idx="900">
                  <c:v>#N/A</c:v>
                </c:pt>
                <c:pt idx="901">
                  <c:v>#N/A</c:v>
                </c:pt>
                <c:pt idx="902">
                  <c:v>#N/A</c:v>
                </c:pt>
                <c:pt idx="903">
                  <c:v>#N/A</c:v>
                </c:pt>
                <c:pt idx="904">
                  <c:v>#N/A</c:v>
                </c:pt>
                <c:pt idx="905">
                  <c:v>#N/A</c:v>
                </c:pt>
                <c:pt idx="906">
                  <c:v>#N/A</c:v>
                </c:pt>
                <c:pt idx="907">
                  <c:v>#N/A</c:v>
                </c:pt>
                <c:pt idx="908">
                  <c:v>#N/A</c:v>
                </c:pt>
                <c:pt idx="909">
                  <c:v>#N/A</c:v>
                </c:pt>
                <c:pt idx="910">
                  <c:v>#N/A</c:v>
                </c:pt>
                <c:pt idx="911">
                  <c:v>#N/A</c:v>
                </c:pt>
                <c:pt idx="912">
                  <c:v>#N/A</c:v>
                </c:pt>
                <c:pt idx="913">
                  <c:v>#N/A</c:v>
                </c:pt>
                <c:pt idx="914">
                  <c:v>#N/A</c:v>
                </c:pt>
                <c:pt idx="915">
                  <c:v>#N/A</c:v>
                </c:pt>
                <c:pt idx="916">
                  <c:v>#N/A</c:v>
                </c:pt>
                <c:pt idx="917">
                  <c:v>#N/A</c:v>
                </c:pt>
                <c:pt idx="918">
                  <c:v>#N/A</c:v>
                </c:pt>
                <c:pt idx="919">
                  <c:v>#N/A</c:v>
                </c:pt>
                <c:pt idx="920">
                  <c:v>#N/A</c:v>
                </c:pt>
                <c:pt idx="921">
                  <c:v>#N/A</c:v>
                </c:pt>
                <c:pt idx="922">
                  <c:v>#N/A</c:v>
                </c:pt>
                <c:pt idx="923">
                  <c:v>#N/A</c:v>
                </c:pt>
                <c:pt idx="924">
                  <c:v>#N/A</c:v>
                </c:pt>
                <c:pt idx="925">
                  <c:v>#N/A</c:v>
                </c:pt>
                <c:pt idx="926">
                  <c:v>#N/A</c:v>
                </c:pt>
                <c:pt idx="927">
                  <c:v>#N/A</c:v>
                </c:pt>
                <c:pt idx="928">
                  <c:v>#N/A</c:v>
                </c:pt>
                <c:pt idx="929">
                  <c:v>#N/A</c:v>
                </c:pt>
                <c:pt idx="930">
                  <c:v>#N/A</c:v>
                </c:pt>
                <c:pt idx="931">
                  <c:v>#N/A</c:v>
                </c:pt>
                <c:pt idx="932">
                  <c:v>#N/A</c:v>
                </c:pt>
                <c:pt idx="933">
                  <c:v>#N/A</c:v>
                </c:pt>
                <c:pt idx="934">
                  <c:v>#N/A</c:v>
                </c:pt>
                <c:pt idx="935">
                  <c:v>#N/A</c:v>
                </c:pt>
                <c:pt idx="936">
                  <c:v>#N/A</c:v>
                </c:pt>
                <c:pt idx="937">
                  <c:v>#N/A</c:v>
                </c:pt>
                <c:pt idx="938">
                  <c:v>#N/A</c:v>
                </c:pt>
                <c:pt idx="939">
                  <c:v>#N/A</c:v>
                </c:pt>
                <c:pt idx="940">
                  <c:v>#N/A</c:v>
                </c:pt>
                <c:pt idx="941">
                  <c:v>#N/A</c:v>
                </c:pt>
                <c:pt idx="942">
                  <c:v>#N/A</c:v>
                </c:pt>
                <c:pt idx="943">
                  <c:v>#N/A</c:v>
                </c:pt>
                <c:pt idx="944">
                  <c:v>#N/A</c:v>
                </c:pt>
                <c:pt idx="945">
                  <c:v>#N/A</c:v>
                </c:pt>
                <c:pt idx="946">
                  <c:v>#N/A</c:v>
                </c:pt>
                <c:pt idx="947">
                  <c:v>#N/A</c:v>
                </c:pt>
                <c:pt idx="948">
                  <c:v>#N/A</c:v>
                </c:pt>
                <c:pt idx="949">
                  <c:v>#N/A</c:v>
                </c:pt>
                <c:pt idx="950">
                  <c:v>#N/A</c:v>
                </c:pt>
                <c:pt idx="951">
                  <c:v>#N/A</c:v>
                </c:pt>
                <c:pt idx="952">
                  <c:v>#N/A</c:v>
                </c:pt>
                <c:pt idx="953">
                  <c:v>#N/A</c:v>
                </c:pt>
                <c:pt idx="954">
                  <c:v>#N/A</c:v>
                </c:pt>
                <c:pt idx="955">
                  <c:v>#N/A</c:v>
                </c:pt>
                <c:pt idx="956">
                  <c:v>#N/A</c:v>
                </c:pt>
                <c:pt idx="957">
                  <c:v>#N/A</c:v>
                </c:pt>
                <c:pt idx="958">
                  <c:v>#N/A</c:v>
                </c:pt>
                <c:pt idx="959">
                  <c:v>#N/A</c:v>
                </c:pt>
                <c:pt idx="960">
                  <c:v>#N/A</c:v>
                </c:pt>
                <c:pt idx="961">
                  <c:v>#N/A</c:v>
                </c:pt>
                <c:pt idx="962">
                  <c:v>#N/A</c:v>
                </c:pt>
                <c:pt idx="963">
                  <c:v>#N/A</c:v>
                </c:pt>
                <c:pt idx="964">
                  <c:v>#N/A</c:v>
                </c:pt>
                <c:pt idx="965">
                  <c:v>#N/A</c:v>
                </c:pt>
                <c:pt idx="966">
                  <c:v>#N/A</c:v>
                </c:pt>
                <c:pt idx="967">
                  <c:v>#N/A</c:v>
                </c:pt>
                <c:pt idx="968">
                  <c:v>#N/A</c:v>
                </c:pt>
                <c:pt idx="969">
                  <c:v>#N/A</c:v>
                </c:pt>
                <c:pt idx="970">
                  <c:v>#N/A</c:v>
                </c:pt>
                <c:pt idx="971">
                  <c:v>#N/A</c:v>
                </c:pt>
                <c:pt idx="972">
                  <c:v>#N/A</c:v>
                </c:pt>
                <c:pt idx="973">
                  <c:v>#N/A</c:v>
                </c:pt>
                <c:pt idx="974">
                  <c:v>#N/A</c:v>
                </c:pt>
                <c:pt idx="975">
                  <c:v>#N/A</c:v>
                </c:pt>
                <c:pt idx="976">
                  <c:v>#N/A</c:v>
                </c:pt>
                <c:pt idx="977">
                  <c:v>#N/A</c:v>
                </c:pt>
                <c:pt idx="978">
                  <c:v>#N/A</c:v>
                </c:pt>
                <c:pt idx="979">
                  <c:v>#N/A</c:v>
                </c:pt>
                <c:pt idx="980">
                  <c:v>#N/A</c:v>
                </c:pt>
                <c:pt idx="981">
                  <c:v>#N/A</c:v>
                </c:pt>
                <c:pt idx="982">
                  <c:v>#N/A</c:v>
                </c:pt>
                <c:pt idx="983">
                  <c:v>#N/A</c:v>
                </c:pt>
                <c:pt idx="984">
                  <c:v>#N/A</c:v>
                </c:pt>
                <c:pt idx="985">
                  <c:v>#N/A</c:v>
                </c:pt>
                <c:pt idx="986">
                  <c:v>#N/A</c:v>
                </c:pt>
                <c:pt idx="987">
                  <c:v>#N/A</c:v>
                </c:pt>
                <c:pt idx="988">
                  <c:v>#N/A</c:v>
                </c:pt>
                <c:pt idx="989">
                  <c:v>#N/A</c:v>
                </c:pt>
                <c:pt idx="990">
                  <c:v>#N/A</c:v>
                </c:pt>
                <c:pt idx="991">
                  <c:v>#N/A</c:v>
                </c:pt>
                <c:pt idx="992">
                  <c:v>#N/A</c:v>
                </c:pt>
                <c:pt idx="993">
                  <c:v>#N/A</c:v>
                </c:pt>
                <c:pt idx="994">
                  <c:v>#N/A</c:v>
                </c:pt>
                <c:pt idx="995">
                  <c:v>#N/A</c:v>
                </c:pt>
                <c:pt idx="996">
                  <c:v>#N/A</c:v>
                </c:pt>
                <c:pt idx="997">
                  <c:v>#N/A</c:v>
                </c:pt>
                <c:pt idx="998">
                  <c:v>#N/A</c:v>
                </c:pt>
                <c:pt idx="999">
                  <c:v>#N/A</c:v>
                </c:pt>
                <c:pt idx="1000">
                  <c:v>#N/A</c:v>
                </c:pt>
                <c:pt idx="1001">
                  <c:v>#N/A</c:v>
                </c:pt>
                <c:pt idx="1002">
                  <c:v>#N/A</c:v>
                </c:pt>
                <c:pt idx="1003">
                  <c:v>#N/A</c:v>
                </c:pt>
                <c:pt idx="1004">
                  <c:v>#N/A</c:v>
                </c:pt>
                <c:pt idx="1005">
                  <c:v>#N/A</c:v>
                </c:pt>
                <c:pt idx="1006">
                  <c:v>#N/A</c:v>
                </c:pt>
                <c:pt idx="1007">
                  <c:v>#N/A</c:v>
                </c:pt>
                <c:pt idx="1008">
                  <c:v>#N/A</c:v>
                </c:pt>
                <c:pt idx="1009">
                  <c:v>#N/A</c:v>
                </c:pt>
                <c:pt idx="1010">
                  <c:v>#N/A</c:v>
                </c:pt>
                <c:pt idx="1011">
                  <c:v>#N/A</c:v>
                </c:pt>
                <c:pt idx="1012">
                  <c:v>#N/A</c:v>
                </c:pt>
                <c:pt idx="1013">
                  <c:v>#N/A</c:v>
                </c:pt>
                <c:pt idx="1014">
                  <c:v>#N/A</c:v>
                </c:pt>
                <c:pt idx="1015">
                  <c:v>#N/A</c:v>
                </c:pt>
                <c:pt idx="1016">
                  <c:v>#N/A</c:v>
                </c:pt>
                <c:pt idx="1017">
                  <c:v>#N/A</c:v>
                </c:pt>
                <c:pt idx="1018">
                  <c:v>#N/A</c:v>
                </c:pt>
                <c:pt idx="1019">
                  <c:v>#N/A</c:v>
                </c:pt>
                <c:pt idx="1020">
                  <c:v>#N/A</c:v>
                </c:pt>
                <c:pt idx="1021">
                  <c:v>#N/A</c:v>
                </c:pt>
                <c:pt idx="1022">
                  <c:v>#N/A</c:v>
                </c:pt>
                <c:pt idx="1023">
                  <c:v>#N/A</c:v>
                </c:pt>
                <c:pt idx="1024">
                  <c:v>#N/A</c:v>
                </c:pt>
                <c:pt idx="1025">
                  <c:v>#N/A</c:v>
                </c:pt>
                <c:pt idx="1026">
                  <c:v>#N/A</c:v>
                </c:pt>
                <c:pt idx="1027">
                  <c:v>#N/A</c:v>
                </c:pt>
                <c:pt idx="1028">
                  <c:v>#N/A</c:v>
                </c:pt>
                <c:pt idx="1029">
                  <c:v>#N/A</c:v>
                </c:pt>
                <c:pt idx="1030">
                  <c:v>#N/A</c:v>
                </c:pt>
                <c:pt idx="1031">
                  <c:v>#N/A</c:v>
                </c:pt>
                <c:pt idx="1032">
                  <c:v>#N/A</c:v>
                </c:pt>
                <c:pt idx="1033">
                  <c:v>#N/A</c:v>
                </c:pt>
                <c:pt idx="1034">
                  <c:v>#N/A</c:v>
                </c:pt>
                <c:pt idx="1035">
                  <c:v>#N/A</c:v>
                </c:pt>
                <c:pt idx="1036">
                  <c:v>#N/A</c:v>
                </c:pt>
                <c:pt idx="1037">
                  <c:v>#N/A</c:v>
                </c:pt>
                <c:pt idx="1038">
                  <c:v>#N/A</c:v>
                </c:pt>
                <c:pt idx="1039">
                  <c:v>#N/A</c:v>
                </c:pt>
                <c:pt idx="1040">
                  <c:v>#N/A</c:v>
                </c:pt>
                <c:pt idx="1041">
                  <c:v>#N/A</c:v>
                </c:pt>
                <c:pt idx="1042">
                  <c:v>#N/A</c:v>
                </c:pt>
                <c:pt idx="1043">
                  <c:v>#N/A</c:v>
                </c:pt>
                <c:pt idx="1044">
                  <c:v>#N/A</c:v>
                </c:pt>
                <c:pt idx="1045">
                  <c:v>#N/A</c:v>
                </c:pt>
                <c:pt idx="1046">
                  <c:v>#N/A</c:v>
                </c:pt>
                <c:pt idx="1047">
                  <c:v>#N/A</c:v>
                </c:pt>
                <c:pt idx="1048">
                  <c:v>#N/A</c:v>
                </c:pt>
                <c:pt idx="1049">
                  <c:v>#N/A</c:v>
                </c:pt>
                <c:pt idx="1050">
                  <c:v>#N/A</c:v>
                </c:pt>
                <c:pt idx="1051">
                  <c:v>#N/A</c:v>
                </c:pt>
                <c:pt idx="1052">
                  <c:v>#N/A</c:v>
                </c:pt>
                <c:pt idx="1053">
                  <c:v>#N/A</c:v>
                </c:pt>
                <c:pt idx="1054">
                  <c:v>#N/A</c:v>
                </c:pt>
                <c:pt idx="1055">
                  <c:v>#N/A</c:v>
                </c:pt>
                <c:pt idx="1056">
                  <c:v>#N/A</c:v>
                </c:pt>
                <c:pt idx="1057">
                  <c:v>#N/A</c:v>
                </c:pt>
                <c:pt idx="1058">
                  <c:v>#N/A</c:v>
                </c:pt>
                <c:pt idx="1059">
                  <c:v>#N/A</c:v>
                </c:pt>
                <c:pt idx="1060">
                  <c:v>#N/A</c:v>
                </c:pt>
                <c:pt idx="1061">
                  <c:v>#N/A</c:v>
                </c:pt>
                <c:pt idx="1062">
                  <c:v>#N/A</c:v>
                </c:pt>
                <c:pt idx="1063">
                  <c:v>#N/A</c:v>
                </c:pt>
                <c:pt idx="1064">
                  <c:v>#N/A</c:v>
                </c:pt>
                <c:pt idx="1065">
                  <c:v>#N/A</c:v>
                </c:pt>
                <c:pt idx="1066">
                  <c:v>#N/A</c:v>
                </c:pt>
                <c:pt idx="1067">
                  <c:v>#N/A</c:v>
                </c:pt>
                <c:pt idx="1068">
                  <c:v>#N/A</c:v>
                </c:pt>
                <c:pt idx="1069">
                  <c:v>#N/A</c:v>
                </c:pt>
                <c:pt idx="1070">
                  <c:v>#N/A</c:v>
                </c:pt>
                <c:pt idx="1071">
                  <c:v>#N/A</c:v>
                </c:pt>
                <c:pt idx="1072">
                  <c:v>#N/A</c:v>
                </c:pt>
                <c:pt idx="1073">
                  <c:v>#N/A</c:v>
                </c:pt>
                <c:pt idx="1074">
                  <c:v>#N/A</c:v>
                </c:pt>
                <c:pt idx="1075">
                  <c:v>#N/A</c:v>
                </c:pt>
                <c:pt idx="1076">
                  <c:v>#N/A</c:v>
                </c:pt>
                <c:pt idx="1077">
                  <c:v>#N/A</c:v>
                </c:pt>
                <c:pt idx="1078">
                  <c:v>#N/A</c:v>
                </c:pt>
                <c:pt idx="1079">
                  <c:v>#N/A</c:v>
                </c:pt>
                <c:pt idx="1080">
                  <c:v>#N/A</c:v>
                </c:pt>
                <c:pt idx="1081">
                  <c:v>#N/A</c:v>
                </c:pt>
                <c:pt idx="1082">
                  <c:v>#N/A</c:v>
                </c:pt>
                <c:pt idx="1083">
                  <c:v>#N/A</c:v>
                </c:pt>
                <c:pt idx="1084">
                  <c:v>#N/A</c:v>
                </c:pt>
                <c:pt idx="1085">
                  <c:v>#N/A</c:v>
                </c:pt>
                <c:pt idx="1086">
                  <c:v>#N/A</c:v>
                </c:pt>
                <c:pt idx="1087">
                  <c:v>#N/A</c:v>
                </c:pt>
                <c:pt idx="1088">
                  <c:v>#N/A</c:v>
                </c:pt>
                <c:pt idx="1089">
                  <c:v>#N/A</c:v>
                </c:pt>
                <c:pt idx="1090">
                  <c:v>#N/A</c:v>
                </c:pt>
                <c:pt idx="1091">
                  <c:v>#N/A</c:v>
                </c:pt>
                <c:pt idx="1092">
                  <c:v>#N/A</c:v>
                </c:pt>
                <c:pt idx="1093">
                  <c:v>#N/A</c:v>
                </c:pt>
                <c:pt idx="1094">
                  <c:v>#N/A</c:v>
                </c:pt>
                <c:pt idx="1095">
                  <c:v>#N/A</c:v>
                </c:pt>
                <c:pt idx="1096">
                  <c:v>#N/A</c:v>
                </c:pt>
                <c:pt idx="1097">
                  <c:v>#N/A</c:v>
                </c:pt>
                <c:pt idx="1098">
                  <c:v>#N/A</c:v>
                </c:pt>
                <c:pt idx="1099">
                  <c:v>#N/A</c:v>
                </c:pt>
                <c:pt idx="1100">
                  <c:v>#N/A</c:v>
                </c:pt>
                <c:pt idx="1101">
                  <c:v>#N/A</c:v>
                </c:pt>
                <c:pt idx="1102">
                  <c:v>#N/A</c:v>
                </c:pt>
                <c:pt idx="1103">
                  <c:v>#N/A</c:v>
                </c:pt>
                <c:pt idx="1104">
                  <c:v>#N/A</c:v>
                </c:pt>
                <c:pt idx="1105">
                  <c:v>#N/A</c:v>
                </c:pt>
                <c:pt idx="1106">
                  <c:v>#N/A</c:v>
                </c:pt>
                <c:pt idx="1107">
                  <c:v>#N/A</c:v>
                </c:pt>
                <c:pt idx="1108">
                  <c:v>#N/A</c:v>
                </c:pt>
                <c:pt idx="1109">
                  <c:v>#N/A</c:v>
                </c:pt>
                <c:pt idx="1110">
                  <c:v>#N/A</c:v>
                </c:pt>
                <c:pt idx="1111">
                  <c:v>#N/A</c:v>
                </c:pt>
                <c:pt idx="1112">
                  <c:v>#N/A</c:v>
                </c:pt>
                <c:pt idx="1113">
                  <c:v>#N/A</c:v>
                </c:pt>
                <c:pt idx="1114">
                  <c:v>#N/A</c:v>
                </c:pt>
                <c:pt idx="1115">
                  <c:v>#N/A</c:v>
                </c:pt>
                <c:pt idx="1116">
                  <c:v>#N/A</c:v>
                </c:pt>
                <c:pt idx="1117">
                  <c:v>#N/A</c:v>
                </c:pt>
                <c:pt idx="1118">
                  <c:v>#N/A</c:v>
                </c:pt>
                <c:pt idx="1119">
                  <c:v>#N/A</c:v>
                </c:pt>
                <c:pt idx="1120">
                  <c:v>#N/A</c:v>
                </c:pt>
                <c:pt idx="1121">
                  <c:v>#N/A</c:v>
                </c:pt>
                <c:pt idx="1122">
                  <c:v>#N/A</c:v>
                </c:pt>
                <c:pt idx="1123">
                  <c:v>#N/A</c:v>
                </c:pt>
                <c:pt idx="1124">
                  <c:v>#N/A</c:v>
                </c:pt>
                <c:pt idx="1125">
                  <c:v>#N/A</c:v>
                </c:pt>
                <c:pt idx="1126">
                  <c:v>#N/A</c:v>
                </c:pt>
                <c:pt idx="1127">
                  <c:v>#N/A</c:v>
                </c:pt>
                <c:pt idx="1128">
                  <c:v>#N/A</c:v>
                </c:pt>
                <c:pt idx="1129">
                  <c:v>#N/A</c:v>
                </c:pt>
                <c:pt idx="1130">
                  <c:v>#N/A</c:v>
                </c:pt>
                <c:pt idx="1131">
                  <c:v>#N/A</c:v>
                </c:pt>
                <c:pt idx="1132">
                  <c:v>#N/A</c:v>
                </c:pt>
                <c:pt idx="1133">
                  <c:v>#N/A</c:v>
                </c:pt>
                <c:pt idx="1134">
                  <c:v>#N/A</c:v>
                </c:pt>
                <c:pt idx="1135">
                  <c:v>#N/A</c:v>
                </c:pt>
                <c:pt idx="1136">
                  <c:v>#N/A</c:v>
                </c:pt>
                <c:pt idx="1137">
                  <c:v>#N/A</c:v>
                </c:pt>
                <c:pt idx="1138">
                  <c:v>#N/A</c:v>
                </c:pt>
                <c:pt idx="1139">
                  <c:v>#N/A</c:v>
                </c:pt>
                <c:pt idx="1140">
                  <c:v>#N/A</c:v>
                </c:pt>
                <c:pt idx="1141">
                  <c:v>#N/A</c:v>
                </c:pt>
                <c:pt idx="1142">
                  <c:v>#N/A</c:v>
                </c:pt>
                <c:pt idx="1143">
                  <c:v>#N/A</c:v>
                </c:pt>
                <c:pt idx="1144">
                  <c:v>#N/A</c:v>
                </c:pt>
                <c:pt idx="1145">
                  <c:v>#N/A</c:v>
                </c:pt>
                <c:pt idx="1146">
                  <c:v>#N/A</c:v>
                </c:pt>
                <c:pt idx="1147">
                  <c:v>#N/A</c:v>
                </c:pt>
                <c:pt idx="1148">
                  <c:v>#N/A</c:v>
                </c:pt>
                <c:pt idx="1149">
                  <c:v>#N/A</c:v>
                </c:pt>
                <c:pt idx="1150">
                  <c:v>#N/A</c:v>
                </c:pt>
                <c:pt idx="1151">
                  <c:v>#N/A</c:v>
                </c:pt>
                <c:pt idx="1152">
                  <c:v>#N/A</c:v>
                </c:pt>
                <c:pt idx="1153">
                  <c:v>#N/A</c:v>
                </c:pt>
                <c:pt idx="1154">
                  <c:v>#N/A</c:v>
                </c:pt>
                <c:pt idx="1155">
                  <c:v>#N/A</c:v>
                </c:pt>
                <c:pt idx="1156">
                  <c:v>#N/A</c:v>
                </c:pt>
                <c:pt idx="1157">
                  <c:v>#N/A</c:v>
                </c:pt>
                <c:pt idx="1158">
                  <c:v>#N/A</c:v>
                </c:pt>
                <c:pt idx="1159">
                  <c:v>#N/A</c:v>
                </c:pt>
                <c:pt idx="1160">
                  <c:v>#N/A</c:v>
                </c:pt>
                <c:pt idx="1161">
                  <c:v>#N/A</c:v>
                </c:pt>
                <c:pt idx="1162">
                  <c:v>#N/A</c:v>
                </c:pt>
                <c:pt idx="1163">
                  <c:v>#N/A</c:v>
                </c:pt>
                <c:pt idx="1164">
                  <c:v>#N/A</c:v>
                </c:pt>
                <c:pt idx="1165">
                  <c:v>#N/A</c:v>
                </c:pt>
                <c:pt idx="1166">
                  <c:v>#N/A</c:v>
                </c:pt>
                <c:pt idx="1167">
                  <c:v>#N/A</c:v>
                </c:pt>
                <c:pt idx="1168">
                  <c:v>#N/A</c:v>
                </c:pt>
                <c:pt idx="1169">
                  <c:v>#N/A</c:v>
                </c:pt>
                <c:pt idx="1170">
                  <c:v>#N/A</c:v>
                </c:pt>
                <c:pt idx="1171">
                  <c:v>#N/A</c:v>
                </c:pt>
                <c:pt idx="1172">
                  <c:v>#N/A</c:v>
                </c:pt>
                <c:pt idx="1173">
                  <c:v>#N/A</c:v>
                </c:pt>
                <c:pt idx="1174">
                  <c:v>#N/A</c:v>
                </c:pt>
                <c:pt idx="1175">
                  <c:v>#N/A</c:v>
                </c:pt>
                <c:pt idx="1176">
                  <c:v>#N/A</c:v>
                </c:pt>
                <c:pt idx="1177">
                  <c:v>#N/A</c:v>
                </c:pt>
                <c:pt idx="1178">
                  <c:v>#N/A</c:v>
                </c:pt>
                <c:pt idx="1179">
                  <c:v>#N/A</c:v>
                </c:pt>
                <c:pt idx="1180">
                  <c:v>#N/A</c:v>
                </c:pt>
                <c:pt idx="1181">
                  <c:v>#N/A</c:v>
                </c:pt>
                <c:pt idx="1182">
                  <c:v>#N/A</c:v>
                </c:pt>
                <c:pt idx="1183">
                  <c:v>#N/A</c:v>
                </c:pt>
                <c:pt idx="1184">
                  <c:v>#N/A</c:v>
                </c:pt>
                <c:pt idx="1185">
                  <c:v>#N/A</c:v>
                </c:pt>
                <c:pt idx="1186">
                  <c:v>#N/A</c:v>
                </c:pt>
                <c:pt idx="1187">
                  <c:v>#N/A</c:v>
                </c:pt>
                <c:pt idx="1188">
                  <c:v>#N/A</c:v>
                </c:pt>
                <c:pt idx="1189">
                  <c:v>#N/A</c:v>
                </c:pt>
                <c:pt idx="1190">
                  <c:v>#N/A</c:v>
                </c:pt>
                <c:pt idx="1191">
                  <c:v>#N/A</c:v>
                </c:pt>
                <c:pt idx="1192">
                  <c:v>#N/A</c:v>
                </c:pt>
                <c:pt idx="1193">
                  <c:v>#N/A</c:v>
                </c:pt>
                <c:pt idx="1194">
                  <c:v>#N/A</c:v>
                </c:pt>
                <c:pt idx="1195">
                  <c:v>#N/A</c:v>
                </c:pt>
                <c:pt idx="1196">
                  <c:v>#N/A</c:v>
                </c:pt>
                <c:pt idx="1197">
                  <c:v>#N/A</c:v>
                </c:pt>
                <c:pt idx="1198">
                  <c:v>#N/A</c:v>
                </c:pt>
                <c:pt idx="1199">
                  <c:v>#N/A</c:v>
                </c:pt>
                <c:pt idx="1200">
                  <c:v>#N/A</c:v>
                </c:pt>
                <c:pt idx="1201">
                  <c:v>#N/A</c:v>
                </c:pt>
                <c:pt idx="1202">
                  <c:v>#N/A</c:v>
                </c:pt>
                <c:pt idx="1203">
                  <c:v>#N/A</c:v>
                </c:pt>
                <c:pt idx="1204">
                  <c:v>#N/A</c:v>
                </c:pt>
                <c:pt idx="1205">
                  <c:v>#N/A</c:v>
                </c:pt>
                <c:pt idx="1206">
                  <c:v>#N/A</c:v>
                </c:pt>
                <c:pt idx="1207">
                  <c:v>#N/A</c:v>
                </c:pt>
                <c:pt idx="1208">
                  <c:v>#N/A</c:v>
                </c:pt>
                <c:pt idx="1209">
                  <c:v>#N/A</c:v>
                </c:pt>
                <c:pt idx="1210">
                  <c:v>#N/A</c:v>
                </c:pt>
                <c:pt idx="1211">
                  <c:v>#N/A</c:v>
                </c:pt>
                <c:pt idx="1212">
                  <c:v>#N/A</c:v>
                </c:pt>
                <c:pt idx="1213">
                  <c:v>#N/A</c:v>
                </c:pt>
                <c:pt idx="1214">
                  <c:v>#N/A</c:v>
                </c:pt>
                <c:pt idx="1215">
                  <c:v>#N/A</c:v>
                </c:pt>
                <c:pt idx="1216">
                  <c:v>#N/A</c:v>
                </c:pt>
                <c:pt idx="1217">
                  <c:v>#N/A</c:v>
                </c:pt>
                <c:pt idx="1218">
                  <c:v>#N/A</c:v>
                </c:pt>
                <c:pt idx="1219">
                  <c:v>#N/A</c:v>
                </c:pt>
                <c:pt idx="1220">
                  <c:v>#N/A</c:v>
                </c:pt>
                <c:pt idx="1221">
                  <c:v>#N/A</c:v>
                </c:pt>
                <c:pt idx="1222">
                  <c:v>#N/A</c:v>
                </c:pt>
                <c:pt idx="1223">
                  <c:v>#N/A</c:v>
                </c:pt>
                <c:pt idx="1224">
                  <c:v>#N/A</c:v>
                </c:pt>
                <c:pt idx="1225">
                  <c:v>#N/A</c:v>
                </c:pt>
                <c:pt idx="1226">
                  <c:v>#N/A</c:v>
                </c:pt>
                <c:pt idx="1227">
                  <c:v>#N/A</c:v>
                </c:pt>
                <c:pt idx="1228">
                  <c:v>#N/A</c:v>
                </c:pt>
                <c:pt idx="1229">
                  <c:v>#N/A</c:v>
                </c:pt>
                <c:pt idx="1230">
                  <c:v>#N/A</c:v>
                </c:pt>
                <c:pt idx="1231">
                  <c:v>#N/A</c:v>
                </c:pt>
                <c:pt idx="1232">
                  <c:v>#N/A</c:v>
                </c:pt>
                <c:pt idx="1233">
                  <c:v>#N/A</c:v>
                </c:pt>
                <c:pt idx="1234">
                  <c:v>#N/A</c:v>
                </c:pt>
                <c:pt idx="1235">
                  <c:v>#N/A</c:v>
                </c:pt>
                <c:pt idx="1236">
                  <c:v>#N/A</c:v>
                </c:pt>
                <c:pt idx="1237">
                  <c:v>#N/A</c:v>
                </c:pt>
                <c:pt idx="1238">
                  <c:v>#N/A</c:v>
                </c:pt>
                <c:pt idx="1239">
                  <c:v>#N/A</c:v>
                </c:pt>
                <c:pt idx="1240">
                  <c:v>#N/A</c:v>
                </c:pt>
                <c:pt idx="1241">
                  <c:v>#N/A</c:v>
                </c:pt>
                <c:pt idx="1242">
                  <c:v>#N/A</c:v>
                </c:pt>
                <c:pt idx="1243">
                  <c:v>#N/A</c:v>
                </c:pt>
                <c:pt idx="1244">
                  <c:v>#N/A</c:v>
                </c:pt>
                <c:pt idx="1245">
                  <c:v>#N/A</c:v>
                </c:pt>
                <c:pt idx="1246">
                  <c:v>#N/A</c:v>
                </c:pt>
                <c:pt idx="1247">
                  <c:v>#N/A</c:v>
                </c:pt>
                <c:pt idx="1248">
                  <c:v>#N/A</c:v>
                </c:pt>
                <c:pt idx="1249">
                  <c:v>#N/A</c:v>
                </c:pt>
                <c:pt idx="1250">
                  <c:v>#N/A</c:v>
                </c:pt>
                <c:pt idx="1251">
                  <c:v>#N/A</c:v>
                </c:pt>
                <c:pt idx="1252">
                  <c:v>#N/A</c:v>
                </c:pt>
                <c:pt idx="1253">
                  <c:v>#N/A</c:v>
                </c:pt>
                <c:pt idx="1254">
                  <c:v>#N/A</c:v>
                </c:pt>
                <c:pt idx="1255">
                  <c:v>#N/A</c:v>
                </c:pt>
                <c:pt idx="1256">
                  <c:v>#N/A</c:v>
                </c:pt>
                <c:pt idx="1257">
                  <c:v>#N/A</c:v>
                </c:pt>
                <c:pt idx="1258">
                  <c:v>#N/A</c:v>
                </c:pt>
                <c:pt idx="1259">
                  <c:v>#N/A</c:v>
                </c:pt>
                <c:pt idx="1260">
                  <c:v>#N/A</c:v>
                </c:pt>
                <c:pt idx="1261">
                  <c:v>#N/A</c:v>
                </c:pt>
                <c:pt idx="1262">
                  <c:v>#N/A</c:v>
                </c:pt>
                <c:pt idx="1263">
                  <c:v>#N/A</c:v>
                </c:pt>
                <c:pt idx="1264">
                  <c:v>#N/A</c:v>
                </c:pt>
                <c:pt idx="1265">
                  <c:v>#N/A</c:v>
                </c:pt>
                <c:pt idx="1266">
                  <c:v>#N/A</c:v>
                </c:pt>
                <c:pt idx="1267">
                  <c:v>#N/A</c:v>
                </c:pt>
                <c:pt idx="1268">
                  <c:v>#N/A</c:v>
                </c:pt>
                <c:pt idx="1269">
                  <c:v>#N/A</c:v>
                </c:pt>
                <c:pt idx="1270">
                  <c:v>#N/A</c:v>
                </c:pt>
                <c:pt idx="1271">
                  <c:v>#N/A</c:v>
                </c:pt>
                <c:pt idx="1272">
                  <c:v>#N/A</c:v>
                </c:pt>
                <c:pt idx="1273">
                  <c:v>#N/A</c:v>
                </c:pt>
                <c:pt idx="1274">
                  <c:v>#N/A</c:v>
                </c:pt>
                <c:pt idx="1275">
                  <c:v>#N/A</c:v>
                </c:pt>
                <c:pt idx="1276">
                  <c:v>#N/A</c:v>
                </c:pt>
                <c:pt idx="1277">
                  <c:v>#N/A</c:v>
                </c:pt>
                <c:pt idx="1278">
                  <c:v>#N/A</c:v>
                </c:pt>
                <c:pt idx="1279">
                  <c:v>#N/A</c:v>
                </c:pt>
                <c:pt idx="1280">
                  <c:v>#N/A</c:v>
                </c:pt>
                <c:pt idx="1281">
                  <c:v>#N/A</c:v>
                </c:pt>
                <c:pt idx="1282">
                  <c:v>#N/A</c:v>
                </c:pt>
                <c:pt idx="1283">
                  <c:v>#N/A</c:v>
                </c:pt>
                <c:pt idx="1284">
                  <c:v>#N/A</c:v>
                </c:pt>
                <c:pt idx="1285">
                  <c:v>#N/A</c:v>
                </c:pt>
                <c:pt idx="1286">
                  <c:v>#N/A</c:v>
                </c:pt>
                <c:pt idx="1287">
                  <c:v>#N/A</c:v>
                </c:pt>
                <c:pt idx="1288">
                  <c:v>#N/A</c:v>
                </c:pt>
                <c:pt idx="1289">
                  <c:v>#N/A</c:v>
                </c:pt>
                <c:pt idx="1290">
                  <c:v>#N/A</c:v>
                </c:pt>
                <c:pt idx="1291">
                  <c:v>#N/A</c:v>
                </c:pt>
                <c:pt idx="1292">
                  <c:v>#N/A</c:v>
                </c:pt>
                <c:pt idx="1293">
                  <c:v>#N/A</c:v>
                </c:pt>
                <c:pt idx="1294">
                  <c:v>#N/A</c:v>
                </c:pt>
                <c:pt idx="1295">
                  <c:v>#N/A</c:v>
                </c:pt>
                <c:pt idx="1296">
                  <c:v>#N/A</c:v>
                </c:pt>
                <c:pt idx="1297">
                  <c:v>#N/A</c:v>
                </c:pt>
                <c:pt idx="1298">
                  <c:v>#N/A</c:v>
                </c:pt>
                <c:pt idx="1299">
                  <c:v>#N/A</c:v>
                </c:pt>
                <c:pt idx="1300">
                  <c:v>#N/A</c:v>
                </c:pt>
                <c:pt idx="1301">
                  <c:v>#N/A</c:v>
                </c:pt>
                <c:pt idx="1302">
                  <c:v>#N/A</c:v>
                </c:pt>
                <c:pt idx="1303">
                  <c:v>#N/A</c:v>
                </c:pt>
                <c:pt idx="1304">
                  <c:v>#N/A</c:v>
                </c:pt>
                <c:pt idx="1305">
                  <c:v>#N/A</c:v>
                </c:pt>
                <c:pt idx="1306">
                  <c:v>#N/A</c:v>
                </c:pt>
                <c:pt idx="1307">
                  <c:v>#N/A</c:v>
                </c:pt>
                <c:pt idx="1308">
                  <c:v>#N/A</c:v>
                </c:pt>
                <c:pt idx="1309">
                  <c:v>#N/A</c:v>
                </c:pt>
                <c:pt idx="1310">
                  <c:v>#N/A</c:v>
                </c:pt>
                <c:pt idx="1311">
                  <c:v>#N/A</c:v>
                </c:pt>
                <c:pt idx="1312">
                  <c:v>#N/A</c:v>
                </c:pt>
                <c:pt idx="1313">
                  <c:v>#N/A</c:v>
                </c:pt>
                <c:pt idx="1314">
                  <c:v>#N/A</c:v>
                </c:pt>
                <c:pt idx="1315">
                  <c:v>#N/A</c:v>
                </c:pt>
                <c:pt idx="1316">
                  <c:v>#N/A</c:v>
                </c:pt>
                <c:pt idx="1317">
                  <c:v>#N/A</c:v>
                </c:pt>
                <c:pt idx="1318">
                  <c:v>#N/A</c:v>
                </c:pt>
                <c:pt idx="1319">
                  <c:v>#N/A</c:v>
                </c:pt>
                <c:pt idx="1320">
                  <c:v>#N/A</c:v>
                </c:pt>
                <c:pt idx="1321">
                  <c:v>#N/A</c:v>
                </c:pt>
                <c:pt idx="1322">
                  <c:v>#N/A</c:v>
                </c:pt>
                <c:pt idx="1323">
                  <c:v>#N/A</c:v>
                </c:pt>
                <c:pt idx="1324">
                  <c:v>#N/A</c:v>
                </c:pt>
                <c:pt idx="1325">
                  <c:v>#N/A</c:v>
                </c:pt>
                <c:pt idx="1326">
                  <c:v>#N/A</c:v>
                </c:pt>
                <c:pt idx="1327">
                  <c:v>#N/A</c:v>
                </c:pt>
                <c:pt idx="1328">
                  <c:v>#N/A</c:v>
                </c:pt>
                <c:pt idx="1329">
                  <c:v>#N/A</c:v>
                </c:pt>
                <c:pt idx="1330">
                  <c:v>#N/A</c:v>
                </c:pt>
                <c:pt idx="1331">
                  <c:v>#N/A</c:v>
                </c:pt>
                <c:pt idx="1332">
                  <c:v>#N/A</c:v>
                </c:pt>
                <c:pt idx="1333">
                  <c:v>#N/A</c:v>
                </c:pt>
                <c:pt idx="1334">
                  <c:v>#N/A</c:v>
                </c:pt>
                <c:pt idx="1335">
                  <c:v>#N/A</c:v>
                </c:pt>
                <c:pt idx="1336">
                  <c:v>#N/A</c:v>
                </c:pt>
                <c:pt idx="1337">
                  <c:v>#N/A</c:v>
                </c:pt>
                <c:pt idx="1338">
                  <c:v>#N/A</c:v>
                </c:pt>
                <c:pt idx="1339">
                  <c:v>#N/A</c:v>
                </c:pt>
                <c:pt idx="1340">
                  <c:v>#N/A</c:v>
                </c:pt>
                <c:pt idx="1341">
                  <c:v>#N/A</c:v>
                </c:pt>
                <c:pt idx="1342">
                  <c:v>#N/A</c:v>
                </c:pt>
                <c:pt idx="1343">
                  <c:v>#N/A</c:v>
                </c:pt>
                <c:pt idx="1344">
                  <c:v>#N/A</c:v>
                </c:pt>
                <c:pt idx="1345">
                  <c:v>#N/A</c:v>
                </c:pt>
                <c:pt idx="1346">
                  <c:v>#N/A</c:v>
                </c:pt>
                <c:pt idx="1347">
                  <c:v>#N/A</c:v>
                </c:pt>
                <c:pt idx="1348">
                  <c:v>#N/A</c:v>
                </c:pt>
                <c:pt idx="1349">
                  <c:v>#N/A</c:v>
                </c:pt>
                <c:pt idx="1350">
                  <c:v>#N/A</c:v>
                </c:pt>
                <c:pt idx="1351">
                  <c:v>#N/A</c:v>
                </c:pt>
                <c:pt idx="1352">
                  <c:v>#N/A</c:v>
                </c:pt>
                <c:pt idx="1353">
                  <c:v>#N/A</c:v>
                </c:pt>
                <c:pt idx="1354">
                  <c:v>#N/A</c:v>
                </c:pt>
                <c:pt idx="1355">
                  <c:v>#N/A</c:v>
                </c:pt>
                <c:pt idx="1356">
                  <c:v>#N/A</c:v>
                </c:pt>
                <c:pt idx="1357">
                  <c:v>#N/A</c:v>
                </c:pt>
                <c:pt idx="1358">
                  <c:v>#N/A</c:v>
                </c:pt>
                <c:pt idx="1359">
                  <c:v>#N/A</c:v>
                </c:pt>
                <c:pt idx="1360">
                  <c:v>#N/A</c:v>
                </c:pt>
                <c:pt idx="1361">
                  <c:v>#N/A</c:v>
                </c:pt>
                <c:pt idx="1362">
                  <c:v>#N/A</c:v>
                </c:pt>
                <c:pt idx="1363">
                  <c:v>#N/A</c:v>
                </c:pt>
                <c:pt idx="1364">
                  <c:v>#N/A</c:v>
                </c:pt>
                <c:pt idx="1365">
                  <c:v>#N/A</c:v>
                </c:pt>
                <c:pt idx="1366">
                  <c:v>#N/A</c:v>
                </c:pt>
                <c:pt idx="1367">
                  <c:v>#N/A</c:v>
                </c:pt>
                <c:pt idx="1368">
                  <c:v>#N/A</c:v>
                </c:pt>
                <c:pt idx="1369">
                  <c:v>#N/A</c:v>
                </c:pt>
                <c:pt idx="1370">
                  <c:v>#N/A</c:v>
                </c:pt>
                <c:pt idx="1371">
                  <c:v>#N/A</c:v>
                </c:pt>
                <c:pt idx="1372">
                  <c:v>#N/A</c:v>
                </c:pt>
                <c:pt idx="1373">
                  <c:v>#N/A</c:v>
                </c:pt>
                <c:pt idx="1374">
                  <c:v>#N/A</c:v>
                </c:pt>
                <c:pt idx="1375">
                  <c:v>#N/A</c:v>
                </c:pt>
                <c:pt idx="1376">
                  <c:v>#N/A</c:v>
                </c:pt>
                <c:pt idx="1377">
                  <c:v>#N/A</c:v>
                </c:pt>
                <c:pt idx="1378">
                  <c:v>#N/A</c:v>
                </c:pt>
                <c:pt idx="1379">
                  <c:v>#N/A</c:v>
                </c:pt>
                <c:pt idx="1380">
                  <c:v>#N/A</c:v>
                </c:pt>
                <c:pt idx="1381">
                  <c:v>#N/A</c:v>
                </c:pt>
                <c:pt idx="1382">
                  <c:v>#N/A</c:v>
                </c:pt>
                <c:pt idx="1383">
                  <c:v>#N/A</c:v>
                </c:pt>
                <c:pt idx="1384">
                  <c:v>#N/A</c:v>
                </c:pt>
                <c:pt idx="1385">
                  <c:v>#N/A</c:v>
                </c:pt>
                <c:pt idx="1386">
                  <c:v>#N/A</c:v>
                </c:pt>
                <c:pt idx="1387">
                  <c:v>#N/A</c:v>
                </c:pt>
                <c:pt idx="1388">
                  <c:v>#N/A</c:v>
                </c:pt>
                <c:pt idx="1389">
                  <c:v>#N/A</c:v>
                </c:pt>
                <c:pt idx="1390">
                  <c:v>#N/A</c:v>
                </c:pt>
                <c:pt idx="1391">
                  <c:v>#N/A</c:v>
                </c:pt>
                <c:pt idx="1392">
                  <c:v>#N/A</c:v>
                </c:pt>
                <c:pt idx="1393">
                  <c:v>#N/A</c:v>
                </c:pt>
                <c:pt idx="1394">
                  <c:v>#N/A</c:v>
                </c:pt>
                <c:pt idx="1395">
                  <c:v>#N/A</c:v>
                </c:pt>
                <c:pt idx="1396">
                  <c:v>#N/A</c:v>
                </c:pt>
                <c:pt idx="1397">
                  <c:v>#N/A</c:v>
                </c:pt>
                <c:pt idx="1398">
                  <c:v>#N/A</c:v>
                </c:pt>
                <c:pt idx="1399">
                  <c:v>#N/A</c:v>
                </c:pt>
                <c:pt idx="1400">
                  <c:v>#N/A</c:v>
                </c:pt>
                <c:pt idx="1401">
                  <c:v>#N/A</c:v>
                </c:pt>
                <c:pt idx="1402">
                  <c:v>#N/A</c:v>
                </c:pt>
                <c:pt idx="1403">
                  <c:v>#N/A</c:v>
                </c:pt>
                <c:pt idx="1404">
                  <c:v>#N/A</c:v>
                </c:pt>
                <c:pt idx="1405">
                  <c:v>#N/A</c:v>
                </c:pt>
                <c:pt idx="1406">
                  <c:v>#N/A</c:v>
                </c:pt>
                <c:pt idx="1407">
                  <c:v>#N/A</c:v>
                </c:pt>
                <c:pt idx="1408">
                  <c:v>#N/A</c:v>
                </c:pt>
                <c:pt idx="1409">
                  <c:v>#N/A</c:v>
                </c:pt>
                <c:pt idx="1410">
                  <c:v>#N/A</c:v>
                </c:pt>
                <c:pt idx="1411">
                  <c:v>#N/A</c:v>
                </c:pt>
                <c:pt idx="1412">
                  <c:v>#N/A</c:v>
                </c:pt>
                <c:pt idx="1413">
                  <c:v>#N/A</c:v>
                </c:pt>
                <c:pt idx="1414">
                  <c:v>#N/A</c:v>
                </c:pt>
                <c:pt idx="1415">
                  <c:v>#N/A</c:v>
                </c:pt>
                <c:pt idx="1416">
                  <c:v>#N/A</c:v>
                </c:pt>
                <c:pt idx="1417">
                  <c:v>#N/A</c:v>
                </c:pt>
                <c:pt idx="1418">
                  <c:v>#N/A</c:v>
                </c:pt>
                <c:pt idx="1419">
                  <c:v>#N/A</c:v>
                </c:pt>
                <c:pt idx="1420">
                  <c:v>#N/A</c:v>
                </c:pt>
                <c:pt idx="1421">
                  <c:v>#N/A</c:v>
                </c:pt>
                <c:pt idx="1422">
                  <c:v>#N/A</c:v>
                </c:pt>
                <c:pt idx="1423">
                  <c:v>#N/A</c:v>
                </c:pt>
                <c:pt idx="1424">
                  <c:v>#N/A</c:v>
                </c:pt>
                <c:pt idx="1425">
                  <c:v>#N/A</c:v>
                </c:pt>
                <c:pt idx="1426">
                  <c:v>#N/A</c:v>
                </c:pt>
                <c:pt idx="1427">
                  <c:v>#N/A</c:v>
                </c:pt>
                <c:pt idx="1428">
                  <c:v>#N/A</c:v>
                </c:pt>
                <c:pt idx="1429">
                  <c:v>#N/A</c:v>
                </c:pt>
                <c:pt idx="1430">
                  <c:v>#N/A</c:v>
                </c:pt>
                <c:pt idx="1431">
                  <c:v>#N/A</c:v>
                </c:pt>
                <c:pt idx="1432">
                  <c:v>#N/A</c:v>
                </c:pt>
                <c:pt idx="1433">
                  <c:v>#N/A</c:v>
                </c:pt>
                <c:pt idx="1434">
                  <c:v>#N/A</c:v>
                </c:pt>
                <c:pt idx="1435">
                  <c:v>#N/A</c:v>
                </c:pt>
                <c:pt idx="1436">
                  <c:v>#N/A</c:v>
                </c:pt>
                <c:pt idx="1437">
                  <c:v>#N/A</c:v>
                </c:pt>
                <c:pt idx="1438">
                  <c:v>#N/A</c:v>
                </c:pt>
                <c:pt idx="1439">
                  <c:v>#N/A</c:v>
                </c:pt>
                <c:pt idx="1440">
                  <c:v>#N/A</c:v>
                </c:pt>
                <c:pt idx="1441">
                  <c:v>#N/A</c:v>
                </c:pt>
                <c:pt idx="1442">
                  <c:v>#N/A</c:v>
                </c:pt>
                <c:pt idx="1443">
                  <c:v>#N/A</c:v>
                </c:pt>
                <c:pt idx="1444">
                  <c:v>#N/A</c:v>
                </c:pt>
                <c:pt idx="1445">
                  <c:v>#N/A</c:v>
                </c:pt>
                <c:pt idx="1446">
                  <c:v>#N/A</c:v>
                </c:pt>
                <c:pt idx="1447">
                  <c:v>#N/A</c:v>
                </c:pt>
                <c:pt idx="1448">
                  <c:v>#N/A</c:v>
                </c:pt>
                <c:pt idx="1449">
                  <c:v>#N/A</c:v>
                </c:pt>
                <c:pt idx="1450">
                  <c:v>#N/A</c:v>
                </c:pt>
                <c:pt idx="1451">
                  <c:v>#N/A</c:v>
                </c:pt>
                <c:pt idx="1452">
                  <c:v>#N/A</c:v>
                </c:pt>
                <c:pt idx="1453">
                  <c:v>#N/A</c:v>
                </c:pt>
                <c:pt idx="1454">
                  <c:v>#N/A</c:v>
                </c:pt>
                <c:pt idx="1455">
                  <c:v>#N/A</c:v>
                </c:pt>
                <c:pt idx="1456">
                  <c:v>#N/A</c:v>
                </c:pt>
                <c:pt idx="1457">
                  <c:v>#N/A</c:v>
                </c:pt>
                <c:pt idx="1458">
                  <c:v>#N/A</c:v>
                </c:pt>
                <c:pt idx="1459">
                  <c:v>#N/A</c:v>
                </c:pt>
                <c:pt idx="1460">
                  <c:v>#N/A</c:v>
                </c:pt>
                <c:pt idx="1461">
                  <c:v>#N/A</c:v>
                </c:pt>
                <c:pt idx="1462">
                  <c:v>#N/A</c:v>
                </c:pt>
                <c:pt idx="1463">
                  <c:v>#N/A</c:v>
                </c:pt>
                <c:pt idx="1464">
                  <c:v>#N/A</c:v>
                </c:pt>
                <c:pt idx="1465">
                  <c:v>#N/A</c:v>
                </c:pt>
                <c:pt idx="1466">
                  <c:v>#N/A</c:v>
                </c:pt>
                <c:pt idx="1467">
                  <c:v>#N/A</c:v>
                </c:pt>
                <c:pt idx="1468">
                  <c:v>#N/A</c:v>
                </c:pt>
                <c:pt idx="1469">
                  <c:v>#N/A</c:v>
                </c:pt>
                <c:pt idx="1470">
                  <c:v>#N/A</c:v>
                </c:pt>
                <c:pt idx="1471">
                  <c:v>#N/A</c:v>
                </c:pt>
                <c:pt idx="1472">
                  <c:v>#N/A</c:v>
                </c:pt>
                <c:pt idx="1473">
                  <c:v>#N/A</c:v>
                </c:pt>
                <c:pt idx="1474">
                  <c:v>#N/A</c:v>
                </c:pt>
                <c:pt idx="1475">
                  <c:v>#N/A</c:v>
                </c:pt>
                <c:pt idx="1476">
                  <c:v>#N/A</c:v>
                </c:pt>
                <c:pt idx="1477">
                  <c:v>#N/A</c:v>
                </c:pt>
                <c:pt idx="1478">
                  <c:v>#N/A</c:v>
                </c:pt>
                <c:pt idx="1479">
                  <c:v>#N/A</c:v>
                </c:pt>
                <c:pt idx="1480">
                  <c:v>#N/A</c:v>
                </c:pt>
                <c:pt idx="1481">
                  <c:v>#N/A</c:v>
                </c:pt>
                <c:pt idx="1482">
                  <c:v>#N/A</c:v>
                </c:pt>
                <c:pt idx="1483">
                  <c:v>#N/A</c:v>
                </c:pt>
                <c:pt idx="1484">
                  <c:v>#N/A</c:v>
                </c:pt>
                <c:pt idx="1485">
                  <c:v>#N/A</c:v>
                </c:pt>
                <c:pt idx="1486">
                  <c:v>#N/A</c:v>
                </c:pt>
                <c:pt idx="1487">
                  <c:v>#N/A</c:v>
                </c:pt>
                <c:pt idx="1488">
                  <c:v>#N/A</c:v>
                </c:pt>
                <c:pt idx="1489">
                  <c:v>#N/A</c:v>
                </c:pt>
                <c:pt idx="1490">
                  <c:v>#N/A</c:v>
                </c:pt>
                <c:pt idx="1491">
                  <c:v>#N/A</c:v>
                </c:pt>
                <c:pt idx="1492">
                  <c:v>#N/A</c:v>
                </c:pt>
                <c:pt idx="1493">
                  <c:v>#N/A</c:v>
                </c:pt>
                <c:pt idx="1494">
                  <c:v>#N/A</c:v>
                </c:pt>
                <c:pt idx="1495">
                  <c:v>#N/A</c:v>
                </c:pt>
                <c:pt idx="1496">
                  <c:v>#N/A</c:v>
                </c:pt>
                <c:pt idx="1497">
                  <c:v>#N/A</c:v>
                </c:pt>
                <c:pt idx="1498">
                  <c:v>#N/A</c:v>
                </c:pt>
                <c:pt idx="1499">
                  <c:v>#N/A</c:v>
                </c:pt>
                <c:pt idx="1500">
                  <c:v>#N/A</c:v>
                </c:pt>
                <c:pt idx="1501">
                  <c:v>#N/A</c:v>
                </c:pt>
                <c:pt idx="1502">
                  <c:v>#N/A</c:v>
                </c:pt>
                <c:pt idx="1503">
                  <c:v>#N/A</c:v>
                </c:pt>
                <c:pt idx="1504">
                  <c:v>#N/A</c:v>
                </c:pt>
                <c:pt idx="1505">
                  <c:v>#N/A</c:v>
                </c:pt>
                <c:pt idx="1506">
                  <c:v>#N/A</c:v>
                </c:pt>
                <c:pt idx="1507">
                  <c:v>#N/A</c:v>
                </c:pt>
                <c:pt idx="1508">
                  <c:v>#N/A</c:v>
                </c:pt>
                <c:pt idx="1509">
                  <c:v>#N/A</c:v>
                </c:pt>
                <c:pt idx="1510">
                  <c:v>#N/A</c:v>
                </c:pt>
                <c:pt idx="1511">
                  <c:v>#N/A</c:v>
                </c:pt>
                <c:pt idx="1512">
                  <c:v>#N/A</c:v>
                </c:pt>
                <c:pt idx="1513">
                  <c:v>#N/A</c:v>
                </c:pt>
                <c:pt idx="1514">
                  <c:v>#N/A</c:v>
                </c:pt>
                <c:pt idx="1515">
                  <c:v>#N/A</c:v>
                </c:pt>
                <c:pt idx="1516">
                  <c:v>#N/A</c:v>
                </c:pt>
                <c:pt idx="1517">
                  <c:v>#N/A</c:v>
                </c:pt>
                <c:pt idx="1518">
                  <c:v>#N/A</c:v>
                </c:pt>
                <c:pt idx="1519">
                  <c:v>#N/A</c:v>
                </c:pt>
                <c:pt idx="1520">
                  <c:v>#N/A</c:v>
                </c:pt>
                <c:pt idx="1521">
                  <c:v>#N/A</c:v>
                </c:pt>
                <c:pt idx="1522">
                  <c:v>#N/A</c:v>
                </c:pt>
                <c:pt idx="1523">
                  <c:v>#N/A</c:v>
                </c:pt>
                <c:pt idx="1524">
                  <c:v>#N/A</c:v>
                </c:pt>
                <c:pt idx="1525">
                  <c:v>#N/A</c:v>
                </c:pt>
                <c:pt idx="1526">
                  <c:v>#N/A</c:v>
                </c:pt>
                <c:pt idx="1527">
                  <c:v>#N/A</c:v>
                </c:pt>
                <c:pt idx="1528">
                  <c:v>#N/A</c:v>
                </c:pt>
                <c:pt idx="1529">
                  <c:v>#N/A</c:v>
                </c:pt>
                <c:pt idx="1530">
                  <c:v>#N/A</c:v>
                </c:pt>
                <c:pt idx="1531">
                  <c:v>#N/A</c:v>
                </c:pt>
                <c:pt idx="1532">
                  <c:v>#N/A</c:v>
                </c:pt>
                <c:pt idx="1533">
                  <c:v>#N/A</c:v>
                </c:pt>
                <c:pt idx="1534">
                  <c:v>#N/A</c:v>
                </c:pt>
                <c:pt idx="1535">
                  <c:v>#N/A</c:v>
                </c:pt>
                <c:pt idx="1536">
                  <c:v>#N/A</c:v>
                </c:pt>
                <c:pt idx="1537">
                  <c:v>#N/A</c:v>
                </c:pt>
                <c:pt idx="1538">
                  <c:v>#N/A</c:v>
                </c:pt>
                <c:pt idx="1539">
                  <c:v>#N/A</c:v>
                </c:pt>
                <c:pt idx="1540">
                  <c:v>#N/A</c:v>
                </c:pt>
                <c:pt idx="1541">
                  <c:v>#N/A</c:v>
                </c:pt>
                <c:pt idx="1542">
                  <c:v>#N/A</c:v>
                </c:pt>
                <c:pt idx="1543">
                  <c:v>#N/A</c:v>
                </c:pt>
                <c:pt idx="1544">
                  <c:v>#N/A</c:v>
                </c:pt>
                <c:pt idx="1545">
                  <c:v>#N/A</c:v>
                </c:pt>
                <c:pt idx="1546">
                  <c:v>#N/A</c:v>
                </c:pt>
                <c:pt idx="1547">
                  <c:v>#N/A</c:v>
                </c:pt>
                <c:pt idx="1548">
                  <c:v>#N/A</c:v>
                </c:pt>
                <c:pt idx="1549">
                  <c:v>#N/A</c:v>
                </c:pt>
                <c:pt idx="1550">
                  <c:v>#N/A</c:v>
                </c:pt>
                <c:pt idx="1551">
                  <c:v>#N/A</c:v>
                </c:pt>
                <c:pt idx="1552">
                  <c:v>#N/A</c:v>
                </c:pt>
                <c:pt idx="1553">
                  <c:v>#N/A</c:v>
                </c:pt>
                <c:pt idx="1554">
                  <c:v>#N/A</c:v>
                </c:pt>
                <c:pt idx="1555">
                  <c:v>#N/A</c:v>
                </c:pt>
                <c:pt idx="1556">
                  <c:v>#N/A</c:v>
                </c:pt>
                <c:pt idx="1557">
                  <c:v>#N/A</c:v>
                </c:pt>
                <c:pt idx="1558">
                  <c:v>#N/A</c:v>
                </c:pt>
                <c:pt idx="1559">
                  <c:v>#N/A</c:v>
                </c:pt>
                <c:pt idx="1560">
                  <c:v>#N/A</c:v>
                </c:pt>
                <c:pt idx="1561">
                  <c:v>#N/A</c:v>
                </c:pt>
                <c:pt idx="1562">
                  <c:v>#N/A</c:v>
                </c:pt>
                <c:pt idx="1563">
                  <c:v>#N/A</c:v>
                </c:pt>
                <c:pt idx="1564">
                  <c:v>#N/A</c:v>
                </c:pt>
                <c:pt idx="1565">
                  <c:v>#N/A</c:v>
                </c:pt>
                <c:pt idx="1566">
                  <c:v>#N/A</c:v>
                </c:pt>
                <c:pt idx="1567">
                  <c:v>#N/A</c:v>
                </c:pt>
                <c:pt idx="1568">
                  <c:v>#N/A</c:v>
                </c:pt>
                <c:pt idx="1569">
                  <c:v>#N/A</c:v>
                </c:pt>
                <c:pt idx="1570">
                  <c:v>#N/A</c:v>
                </c:pt>
                <c:pt idx="1571">
                  <c:v>#N/A</c:v>
                </c:pt>
                <c:pt idx="1572">
                  <c:v>#N/A</c:v>
                </c:pt>
                <c:pt idx="1573">
                  <c:v>#N/A</c:v>
                </c:pt>
                <c:pt idx="1574">
                  <c:v>#N/A</c:v>
                </c:pt>
                <c:pt idx="1575">
                  <c:v>#N/A</c:v>
                </c:pt>
                <c:pt idx="1576">
                  <c:v>#N/A</c:v>
                </c:pt>
                <c:pt idx="1577">
                  <c:v>#N/A</c:v>
                </c:pt>
                <c:pt idx="1578">
                  <c:v>#N/A</c:v>
                </c:pt>
                <c:pt idx="1579">
                  <c:v>#N/A</c:v>
                </c:pt>
                <c:pt idx="1580">
                  <c:v>#N/A</c:v>
                </c:pt>
                <c:pt idx="1581">
                  <c:v>#N/A</c:v>
                </c:pt>
                <c:pt idx="1582">
                  <c:v>#N/A</c:v>
                </c:pt>
                <c:pt idx="1583">
                  <c:v>#N/A</c:v>
                </c:pt>
                <c:pt idx="1584">
                  <c:v>#N/A</c:v>
                </c:pt>
                <c:pt idx="1585">
                  <c:v>#N/A</c:v>
                </c:pt>
                <c:pt idx="1586">
                  <c:v>#N/A</c:v>
                </c:pt>
                <c:pt idx="1587">
                  <c:v>#N/A</c:v>
                </c:pt>
                <c:pt idx="1588">
                  <c:v>#N/A</c:v>
                </c:pt>
                <c:pt idx="1589">
                  <c:v>#N/A</c:v>
                </c:pt>
                <c:pt idx="1590">
                  <c:v>#N/A</c:v>
                </c:pt>
                <c:pt idx="1591">
                  <c:v>#N/A</c:v>
                </c:pt>
                <c:pt idx="1592">
                  <c:v>#N/A</c:v>
                </c:pt>
                <c:pt idx="1593">
                  <c:v>#N/A</c:v>
                </c:pt>
                <c:pt idx="1594">
                  <c:v>#N/A</c:v>
                </c:pt>
                <c:pt idx="1595">
                  <c:v>#N/A</c:v>
                </c:pt>
                <c:pt idx="1596">
                  <c:v>#N/A</c:v>
                </c:pt>
                <c:pt idx="1597">
                  <c:v>#N/A</c:v>
                </c:pt>
                <c:pt idx="1598">
                  <c:v>#N/A</c:v>
                </c:pt>
                <c:pt idx="1599">
                  <c:v>#N/A</c:v>
                </c:pt>
                <c:pt idx="1600">
                  <c:v>#N/A</c:v>
                </c:pt>
                <c:pt idx="1601">
                  <c:v>#N/A</c:v>
                </c:pt>
                <c:pt idx="1602">
                  <c:v>#N/A</c:v>
                </c:pt>
                <c:pt idx="1603">
                  <c:v>#N/A</c:v>
                </c:pt>
                <c:pt idx="1604">
                  <c:v>#N/A</c:v>
                </c:pt>
                <c:pt idx="1605">
                  <c:v>#N/A</c:v>
                </c:pt>
                <c:pt idx="1606">
                  <c:v>#N/A</c:v>
                </c:pt>
                <c:pt idx="1607">
                  <c:v>#N/A</c:v>
                </c:pt>
                <c:pt idx="1608">
                  <c:v>#N/A</c:v>
                </c:pt>
                <c:pt idx="1609">
                  <c:v>#N/A</c:v>
                </c:pt>
                <c:pt idx="1610">
                  <c:v>#N/A</c:v>
                </c:pt>
                <c:pt idx="1611">
                  <c:v>#N/A</c:v>
                </c:pt>
                <c:pt idx="1612">
                  <c:v>#N/A</c:v>
                </c:pt>
                <c:pt idx="1613">
                  <c:v>#N/A</c:v>
                </c:pt>
                <c:pt idx="1614">
                  <c:v>#N/A</c:v>
                </c:pt>
                <c:pt idx="1615">
                  <c:v>#N/A</c:v>
                </c:pt>
                <c:pt idx="1616">
                  <c:v>#N/A</c:v>
                </c:pt>
                <c:pt idx="1617">
                  <c:v>#N/A</c:v>
                </c:pt>
                <c:pt idx="1618">
                  <c:v>#N/A</c:v>
                </c:pt>
                <c:pt idx="1619">
                  <c:v>#N/A</c:v>
                </c:pt>
                <c:pt idx="1620">
                  <c:v>#N/A</c:v>
                </c:pt>
                <c:pt idx="1621">
                  <c:v>#N/A</c:v>
                </c:pt>
                <c:pt idx="1622">
                  <c:v>#N/A</c:v>
                </c:pt>
                <c:pt idx="1623">
                  <c:v>#N/A</c:v>
                </c:pt>
                <c:pt idx="1624">
                  <c:v>#N/A</c:v>
                </c:pt>
                <c:pt idx="1625">
                  <c:v>#N/A</c:v>
                </c:pt>
                <c:pt idx="1626">
                  <c:v>#N/A</c:v>
                </c:pt>
                <c:pt idx="1627">
                  <c:v>#N/A</c:v>
                </c:pt>
                <c:pt idx="1628">
                  <c:v>#N/A</c:v>
                </c:pt>
                <c:pt idx="1629">
                  <c:v>#N/A</c:v>
                </c:pt>
                <c:pt idx="1630">
                  <c:v>#N/A</c:v>
                </c:pt>
                <c:pt idx="1631">
                  <c:v>#N/A</c:v>
                </c:pt>
                <c:pt idx="1632">
                  <c:v>#N/A</c:v>
                </c:pt>
                <c:pt idx="1633">
                  <c:v>#N/A</c:v>
                </c:pt>
                <c:pt idx="1634">
                  <c:v>#N/A</c:v>
                </c:pt>
                <c:pt idx="1635">
                  <c:v>#N/A</c:v>
                </c:pt>
                <c:pt idx="1636">
                  <c:v>#N/A</c:v>
                </c:pt>
                <c:pt idx="1637">
                  <c:v>#N/A</c:v>
                </c:pt>
                <c:pt idx="1638">
                  <c:v>#N/A</c:v>
                </c:pt>
                <c:pt idx="1639">
                  <c:v>#N/A</c:v>
                </c:pt>
                <c:pt idx="1640">
                  <c:v>#N/A</c:v>
                </c:pt>
                <c:pt idx="1641">
                  <c:v>#N/A</c:v>
                </c:pt>
                <c:pt idx="1642">
                  <c:v>#N/A</c:v>
                </c:pt>
                <c:pt idx="1643">
                  <c:v>#N/A</c:v>
                </c:pt>
                <c:pt idx="1644">
                  <c:v>#N/A</c:v>
                </c:pt>
                <c:pt idx="1645">
                  <c:v>#N/A</c:v>
                </c:pt>
                <c:pt idx="1646">
                  <c:v>#N/A</c:v>
                </c:pt>
                <c:pt idx="1647">
                  <c:v>#N/A</c:v>
                </c:pt>
                <c:pt idx="1648">
                  <c:v>#N/A</c:v>
                </c:pt>
                <c:pt idx="1649">
                  <c:v>#N/A</c:v>
                </c:pt>
                <c:pt idx="1650">
                  <c:v>#N/A</c:v>
                </c:pt>
                <c:pt idx="1651">
                  <c:v>#N/A</c:v>
                </c:pt>
                <c:pt idx="1652">
                  <c:v>#N/A</c:v>
                </c:pt>
                <c:pt idx="1653">
                  <c:v>#N/A</c:v>
                </c:pt>
                <c:pt idx="1654">
                  <c:v>#N/A</c:v>
                </c:pt>
                <c:pt idx="1655">
                  <c:v>#N/A</c:v>
                </c:pt>
                <c:pt idx="1656">
                  <c:v>#N/A</c:v>
                </c:pt>
                <c:pt idx="1657">
                  <c:v>#N/A</c:v>
                </c:pt>
                <c:pt idx="1658">
                  <c:v>#N/A</c:v>
                </c:pt>
                <c:pt idx="1659">
                  <c:v>#N/A</c:v>
                </c:pt>
                <c:pt idx="1660">
                  <c:v>#N/A</c:v>
                </c:pt>
                <c:pt idx="1661">
                  <c:v>#N/A</c:v>
                </c:pt>
                <c:pt idx="1662">
                  <c:v>#N/A</c:v>
                </c:pt>
                <c:pt idx="1663">
                  <c:v>#N/A</c:v>
                </c:pt>
                <c:pt idx="1664">
                  <c:v>#N/A</c:v>
                </c:pt>
                <c:pt idx="1665">
                  <c:v>#N/A</c:v>
                </c:pt>
                <c:pt idx="1666">
                  <c:v>#N/A</c:v>
                </c:pt>
                <c:pt idx="1667">
                  <c:v>#N/A</c:v>
                </c:pt>
                <c:pt idx="1668">
                  <c:v>#N/A</c:v>
                </c:pt>
                <c:pt idx="1669">
                  <c:v>#N/A</c:v>
                </c:pt>
                <c:pt idx="1670">
                  <c:v>#N/A</c:v>
                </c:pt>
                <c:pt idx="1671">
                  <c:v>#N/A</c:v>
                </c:pt>
                <c:pt idx="1672">
                  <c:v>#N/A</c:v>
                </c:pt>
                <c:pt idx="1673">
                  <c:v>#N/A</c:v>
                </c:pt>
                <c:pt idx="1674">
                  <c:v>#N/A</c:v>
                </c:pt>
                <c:pt idx="1675">
                  <c:v>#N/A</c:v>
                </c:pt>
                <c:pt idx="1676">
                  <c:v>#N/A</c:v>
                </c:pt>
                <c:pt idx="1677">
                  <c:v>#N/A</c:v>
                </c:pt>
                <c:pt idx="1678">
                  <c:v>#N/A</c:v>
                </c:pt>
                <c:pt idx="1679">
                  <c:v>#N/A</c:v>
                </c:pt>
                <c:pt idx="1680">
                  <c:v>#N/A</c:v>
                </c:pt>
                <c:pt idx="1681">
                  <c:v>#N/A</c:v>
                </c:pt>
                <c:pt idx="1682">
                  <c:v>#N/A</c:v>
                </c:pt>
                <c:pt idx="1683">
                  <c:v>#N/A</c:v>
                </c:pt>
                <c:pt idx="1684">
                  <c:v>#N/A</c:v>
                </c:pt>
                <c:pt idx="1685">
                  <c:v>#N/A</c:v>
                </c:pt>
                <c:pt idx="1686">
                  <c:v>#N/A</c:v>
                </c:pt>
                <c:pt idx="1687">
                  <c:v>#N/A</c:v>
                </c:pt>
                <c:pt idx="1688">
                  <c:v>#N/A</c:v>
                </c:pt>
                <c:pt idx="1689">
                  <c:v>#N/A</c:v>
                </c:pt>
                <c:pt idx="1690">
                  <c:v>#N/A</c:v>
                </c:pt>
                <c:pt idx="1691">
                  <c:v>#N/A</c:v>
                </c:pt>
                <c:pt idx="1692">
                  <c:v>#N/A</c:v>
                </c:pt>
                <c:pt idx="1693">
                  <c:v>#N/A</c:v>
                </c:pt>
                <c:pt idx="1694">
                  <c:v>#N/A</c:v>
                </c:pt>
                <c:pt idx="1695">
                  <c:v>#N/A</c:v>
                </c:pt>
                <c:pt idx="1696">
                  <c:v>#N/A</c:v>
                </c:pt>
                <c:pt idx="1697">
                  <c:v>#N/A</c:v>
                </c:pt>
                <c:pt idx="1698">
                  <c:v>#N/A</c:v>
                </c:pt>
                <c:pt idx="1699">
                  <c:v>#N/A</c:v>
                </c:pt>
                <c:pt idx="1700">
                  <c:v>#N/A</c:v>
                </c:pt>
                <c:pt idx="1701">
                  <c:v>#N/A</c:v>
                </c:pt>
                <c:pt idx="1702">
                  <c:v>#N/A</c:v>
                </c:pt>
                <c:pt idx="1703">
                  <c:v>#N/A</c:v>
                </c:pt>
                <c:pt idx="1704">
                  <c:v>#N/A</c:v>
                </c:pt>
                <c:pt idx="1705">
                  <c:v>#N/A</c:v>
                </c:pt>
                <c:pt idx="1706">
                  <c:v>#N/A</c:v>
                </c:pt>
                <c:pt idx="1707">
                  <c:v>#N/A</c:v>
                </c:pt>
                <c:pt idx="1708">
                  <c:v>#N/A</c:v>
                </c:pt>
                <c:pt idx="1709">
                  <c:v>#N/A</c:v>
                </c:pt>
                <c:pt idx="1710">
                  <c:v>#N/A</c:v>
                </c:pt>
                <c:pt idx="1711">
                  <c:v>#N/A</c:v>
                </c:pt>
                <c:pt idx="1712">
                  <c:v>#N/A</c:v>
                </c:pt>
                <c:pt idx="1713">
                  <c:v>#N/A</c:v>
                </c:pt>
                <c:pt idx="1714">
                  <c:v>#N/A</c:v>
                </c:pt>
                <c:pt idx="1715">
                  <c:v>#N/A</c:v>
                </c:pt>
                <c:pt idx="1716">
                  <c:v>#N/A</c:v>
                </c:pt>
                <c:pt idx="1717">
                  <c:v>#N/A</c:v>
                </c:pt>
                <c:pt idx="1718">
                  <c:v>#N/A</c:v>
                </c:pt>
                <c:pt idx="1719">
                  <c:v>#N/A</c:v>
                </c:pt>
                <c:pt idx="1720">
                  <c:v>#N/A</c:v>
                </c:pt>
                <c:pt idx="1721">
                  <c:v>#N/A</c:v>
                </c:pt>
                <c:pt idx="1722">
                  <c:v>#N/A</c:v>
                </c:pt>
                <c:pt idx="1723">
                  <c:v>#N/A</c:v>
                </c:pt>
                <c:pt idx="1724">
                  <c:v>#N/A</c:v>
                </c:pt>
                <c:pt idx="1725">
                  <c:v>#N/A</c:v>
                </c:pt>
                <c:pt idx="1726">
                  <c:v>#N/A</c:v>
                </c:pt>
                <c:pt idx="1727">
                  <c:v>#N/A</c:v>
                </c:pt>
                <c:pt idx="1728">
                  <c:v>#N/A</c:v>
                </c:pt>
                <c:pt idx="1729">
                  <c:v>#N/A</c:v>
                </c:pt>
                <c:pt idx="1730">
                  <c:v>#N/A</c:v>
                </c:pt>
                <c:pt idx="1731">
                  <c:v>#N/A</c:v>
                </c:pt>
                <c:pt idx="1732">
                  <c:v>#N/A</c:v>
                </c:pt>
                <c:pt idx="1733">
                  <c:v>#N/A</c:v>
                </c:pt>
                <c:pt idx="1734">
                  <c:v>#N/A</c:v>
                </c:pt>
                <c:pt idx="1735">
                  <c:v>#N/A</c:v>
                </c:pt>
                <c:pt idx="1736">
                  <c:v>#N/A</c:v>
                </c:pt>
                <c:pt idx="1737">
                  <c:v>#N/A</c:v>
                </c:pt>
                <c:pt idx="1738">
                  <c:v>#N/A</c:v>
                </c:pt>
                <c:pt idx="1739">
                  <c:v>#N/A</c:v>
                </c:pt>
                <c:pt idx="1740">
                  <c:v>#N/A</c:v>
                </c:pt>
                <c:pt idx="1741">
                  <c:v>#N/A</c:v>
                </c:pt>
                <c:pt idx="1742">
                  <c:v>#N/A</c:v>
                </c:pt>
                <c:pt idx="1743">
                  <c:v>#N/A</c:v>
                </c:pt>
                <c:pt idx="1744">
                  <c:v>#N/A</c:v>
                </c:pt>
                <c:pt idx="1745">
                  <c:v>#N/A</c:v>
                </c:pt>
                <c:pt idx="1746">
                  <c:v>#N/A</c:v>
                </c:pt>
                <c:pt idx="1747">
                  <c:v>#N/A</c:v>
                </c:pt>
                <c:pt idx="1748">
                  <c:v>#N/A</c:v>
                </c:pt>
                <c:pt idx="1749">
                  <c:v>#N/A</c:v>
                </c:pt>
                <c:pt idx="1750">
                  <c:v>#N/A</c:v>
                </c:pt>
                <c:pt idx="1751">
                  <c:v>#N/A</c:v>
                </c:pt>
                <c:pt idx="1752">
                  <c:v>#N/A</c:v>
                </c:pt>
                <c:pt idx="1753">
                  <c:v>#N/A</c:v>
                </c:pt>
                <c:pt idx="1754">
                  <c:v>#N/A</c:v>
                </c:pt>
                <c:pt idx="1755">
                  <c:v>#N/A</c:v>
                </c:pt>
                <c:pt idx="1756">
                  <c:v>#N/A</c:v>
                </c:pt>
                <c:pt idx="1757">
                  <c:v>#N/A</c:v>
                </c:pt>
                <c:pt idx="1758">
                  <c:v>#N/A</c:v>
                </c:pt>
                <c:pt idx="1759">
                  <c:v>#N/A</c:v>
                </c:pt>
                <c:pt idx="1760">
                  <c:v>#N/A</c:v>
                </c:pt>
                <c:pt idx="1761">
                  <c:v>#N/A</c:v>
                </c:pt>
                <c:pt idx="1762">
                  <c:v>#N/A</c:v>
                </c:pt>
                <c:pt idx="1763">
                  <c:v>#N/A</c:v>
                </c:pt>
                <c:pt idx="1764">
                  <c:v>#N/A</c:v>
                </c:pt>
                <c:pt idx="1765">
                  <c:v>#N/A</c:v>
                </c:pt>
                <c:pt idx="1766">
                  <c:v>#N/A</c:v>
                </c:pt>
                <c:pt idx="1767">
                  <c:v>#N/A</c:v>
                </c:pt>
                <c:pt idx="1768">
                  <c:v>#N/A</c:v>
                </c:pt>
                <c:pt idx="1769">
                  <c:v>#N/A</c:v>
                </c:pt>
                <c:pt idx="1770">
                  <c:v>#N/A</c:v>
                </c:pt>
                <c:pt idx="1771">
                  <c:v>#N/A</c:v>
                </c:pt>
                <c:pt idx="1772">
                  <c:v>#N/A</c:v>
                </c:pt>
                <c:pt idx="1773">
                  <c:v>#N/A</c:v>
                </c:pt>
                <c:pt idx="1774">
                  <c:v>#N/A</c:v>
                </c:pt>
                <c:pt idx="1775">
                  <c:v>#N/A</c:v>
                </c:pt>
                <c:pt idx="1776">
                  <c:v>#N/A</c:v>
                </c:pt>
                <c:pt idx="1777">
                  <c:v>#N/A</c:v>
                </c:pt>
                <c:pt idx="1778">
                  <c:v>#N/A</c:v>
                </c:pt>
                <c:pt idx="1779">
                  <c:v>#N/A</c:v>
                </c:pt>
                <c:pt idx="1780">
                  <c:v>#N/A</c:v>
                </c:pt>
                <c:pt idx="1781">
                  <c:v>#N/A</c:v>
                </c:pt>
                <c:pt idx="1782">
                  <c:v>#N/A</c:v>
                </c:pt>
                <c:pt idx="1783">
                  <c:v>#N/A</c:v>
                </c:pt>
                <c:pt idx="1784">
                  <c:v>#N/A</c:v>
                </c:pt>
                <c:pt idx="1785">
                  <c:v>#N/A</c:v>
                </c:pt>
                <c:pt idx="1786">
                  <c:v>#N/A</c:v>
                </c:pt>
                <c:pt idx="1787">
                  <c:v>#N/A</c:v>
                </c:pt>
                <c:pt idx="1788">
                  <c:v>#N/A</c:v>
                </c:pt>
                <c:pt idx="1789">
                  <c:v>#N/A</c:v>
                </c:pt>
                <c:pt idx="1790">
                  <c:v>#N/A</c:v>
                </c:pt>
                <c:pt idx="1791">
                  <c:v>#N/A</c:v>
                </c:pt>
                <c:pt idx="1792">
                  <c:v>#N/A</c:v>
                </c:pt>
                <c:pt idx="1793">
                  <c:v>#N/A</c:v>
                </c:pt>
                <c:pt idx="1794">
                  <c:v>#N/A</c:v>
                </c:pt>
                <c:pt idx="1795">
                  <c:v>#N/A</c:v>
                </c:pt>
                <c:pt idx="1796">
                  <c:v>#N/A</c:v>
                </c:pt>
                <c:pt idx="1797">
                  <c:v>#N/A</c:v>
                </c:pt>
                <c:pt idx="1798">
                  <c:v>#N/A</c:v>
                </c:pt>
                <c:pt idx="1799">
                  <c:v>#N/A</c:v>
                </c:pt>
                <c:pt idx="1800">
                  <c:v>#N/A</c:v>
                </c:pt>
                <c:pt idx="1801">
                  <c:v>#N/A</c:v>
                </c:pt>
                <c:pt idx="1802">
                  <c:v>#N/A</c:v>
                </c:pt>
                <c:pt idx="1803">
                  <c:v>#N/A</c:v>
                </c:pt>
                <c:pt idx="1804">
                  <c:v>#N/A</c:v>
                </c:pt>
                <c:pt idx="1805">
                  <c:v>#N/A</c:v>
                </c:pt>
                <c:pt idx="1806">
                  <c:v>#N/A</c:v>
                </c:pt>
                <c:pt idx="1807">
                  <c:v>#N/A</c:v>
                </c:pt>
                <c:pt idx="1808">
                  <c:v>#N/A</c:v>
                </c:pt>
                <c:pt idx="1809">
                  <c:v>#N/A</c:v>
                </c:pt>
                <c:pt idx="1810">
                  <c:v>#N/A</c:v>
                </c:pt>
                <c:pt idx="1811">
                  <c:v>#N/A</c:v>
                </c:pt>
                <c:pt idx="1812">
                  <c:v>#N/A</c:v>
                </c:pt>
                <c:pt idx="1813">
                  <c:v>#N/A</c:v>
                </c:pt>
                <c:pt idx="1814">
                  <c:v>#N/A</c:v>
                </c:pt>
                <c:pt idx="1815">
                  <c:v>#N/A</c:v>
                </c:pt>
                <c:pt idx="1816">
                  <c:v>#N/A</c:v>
                </c:pt>
                <c:pt idx="1817">
                  <c:v>#N/A</c:v>
                </c:pt>
                <c:pt idx="1818">
                  <c:v>#N/A</c:v>
                </c:pt>
                <c:pt idx="1819">
                  <c:v>#N/A</c:v>
                </c:pt>
                <c:pt idx="1820">
                  <c:v>#N/A</c:v>
                </c:pt>
                <c:pt idx="1821">
                  <c:v>#N/A</c:v>
                </c:pt>
                <c:pt idx="1822">
                  <c:v>#N/A</c:v>
                </c:pt>
                <c:pt idx="1823">
                  <c:v>#N/A</c:v>
                </c:pt>
                <c:pt idx="1824">
                  <c:v>#N/A</c:v>
                </c:pt>
                <c:pt idx="1825">
                  <c:v>#N/A</c:v>
                </c:pt>
                <c:pt idx="1826">
                  <c:v>#N/A</c:v>
                </c:pt>
                <c:pt idx="1827">
                  <c:v>#N/A</c:v>
                </c:pt>
                <c:pt idx="1828">
                  <c:v>#N/A</c:v>
                </c:pt>
                <c:pt idx="1829">
                  <c:v>#N/A</c:v>
                </c:pt>
                <c:pt idx="1830">
                  <c:v>#N/A</c:v>
                </c:pt>
                <c:pt idx="1831">
                  <c:v>#N/A</c:v>
                </c:pt>
                <c:pt idx="1832">
                  <c:v>#N/A</c:v>
                </c:pt>
                <c:pt idx="1833">
                  <c:v>#N/A</c:v>
                </c:pt>
                <c:pt idx="1834">
                  <c:v>#N/A</c:v>
                </c:pt>
                <c:pt idx="1835">
                  <c:v>#N/A</c:v>
                </c:pt>
                <c:pt idx="1836">
                  <c:v>#N/A</c:v>
                </c:pt>
                <c:pt idx="1837">
                  <c:v>#N/A</c:v>
                </c:pt>
                <c:pt idx="1838">
                  <c:v>#N/A</c:v>
                </c:pt>
                <c:pt idx="1839">
                  <c:v>#N/A</c:v>
                </c:pt>
                <c:pt idx="1840">
                  <c:v>#N/A</c:v>
                </c:pt>
                <c:pt idx="1841">
                  <c:v>#N/A</c:v>
                </c:pt>
                <c:pt idx="1842">
                  <c:v>#N/A</c:v>
                </c:pt>
                <c:pt idx="1843">
                  <c:v>#N/A</c:v>
                </c:pt>
                <c:pt idx="1844">
                  <c:v>#N/A</c:v>
                </c:pt>
                <c:pt idx="1845">
                  <c:v>#N/A</c:v>
                </c:pt>
                <c:pt idx="1846">
                  <c:v>#N/A</c:v>
                </c:pt>
                <c:pt idx="1847">
                  <c:v>#N/A</c:v>
                </c:pt>
                <c:pt idx="1848">
                  <c:v>#N/A</c:v>
                </c:pt>
                <c:pt idx="1849">
                  <c:v>#N/A</c:v>
                </c:pt>
                <c:pt idx="1850">
                  <c:v>#N/A</c:v>
                </c:pt>
                <c:pt idx="1851">
                  <c:v>#N/A</c:v>
                </c:pt>
                <c:pt idx="1852">
                  <c:v>#N/A</c:v>
                </c:pt>
                <c:pt idx="1853">
                  <c:v>#N/A</c:v>
                </c:pt>
                <c:pt idx="1854">
                  <c:v>#N/A</c:v>
                </c:pt>
                <c:pt idx="1855">
                  <c:v>#N/A</c:v>
                </c:pt>
                <c:pt idx="1856">
                  <c:v>#N/A</c:v>
                </c:pt>
                <c:pt idx="1857">
                  <c:v>#N/A</c:v>
                </c:pt>
                <c:pt idx="1858">
                  <c:v>#N/A</c:v>
                </c:pt>
                <c:pt idx="1859">
                  <c:v>#N/A</c:v>
                </c:pt>
                <c:pt idx="1860">
                  <c:v>#N/A</c:v>
                </c:pt>
                <c:pt idx="1861">
                  <c:v>#N/A</c:v>
                </c:pt>
                <c:pt idx="1862">
                  <c:v>#N/A</c:v>
                </c:pt>
                <c:pt idx="1863">
                  <c:v>#N/A</c:v>
                </c:pt>
                <c:pt idx="1864">
                  <c:v>#N/A</c:v>
                </c:pt>
                <c:pt idx="1865">
                  <c:v>#N/A</c:v>
                </c:pt>
                <c:pt idx="1866">
                  <c:v>#N/A</c:v>
                </c:pt>
                <c:pt idx="1867">
                  <c:v>#N/A</c:v>
                </c:pt>
                <c:pt idx="1868">
                  <c:v>#N/A</c:v>
                </c:pt>
                <c:pt idx="1869">
                  <c:v>#N/A</c:v>
                </c:pt>
                <c:pt idx="1870">
                  <c:v>#N/A</c:v>
                </c:pt>
                <c:pt idx="1871">
                  <c:v>#N/A</c:v>
                </c:pt>
                <c:pt idx="1872">
                  <c:v>#N/A</c:v>
                </c:pt>
                <c:pt idx="1873">
                  <c:v>#N/A</c:v>
                </c:pt>
                <c:pt idx="1874">
                  <c:v>#N/A</c:v>
                </c:pt>
                <c:pt idx="1875">
                  <c:v>#N/A</c:v>
                </c:pt>
                <c:pt idx="1876">
                  <c:v>#N/A</c:v>
                </c:pt>
                <c:pt idx="1877">
                  <c:v>#N/A</c:v>
                </c:pt>
                <c:pt idx="1878">
                  <c:v>#N/A</c:v>
                </c:pt>
                <c:pt idx="1879">
                  <c:v>#N/A</c:v>
                </c:pt>
                <c:pt idx="1880">
                  <c:v>#N/A</c:v>
                </c:pt>
                <c:pt idx="1881">
                  <c:v>#N/A</c:v>
                </c:pt>
                <c:pt idx="1882">
                  <c:v>#N/A</c:v>
                </c:pt>
                <c:pt idx="1883">
                  <c:v>#N/A</c:v>
                </c:pt>
                <c:pt idx="1884">
                  <c:v>#N/A</c:v>
                </c:pt>
                <c:pt idx="1885">
                  <c:v>#N/A</c:v>
                </c:pt>
                <c:pt idx="1886">
                  <c:v>#N/A</c:v>
                </c:pt>
                <c:pt idx="1887">
                  <c:v>#N/A</c:v>
                </c:pt>
                <c:pt idx="1888">
                  <c:v>#N/A</c:v>
                </c:pt>
                <c:pt idx="1889">
                  <c:v>#N/A</c:v>
                </c:pt>
                <c:pt idx="1890">
                  <c:v>#N/A</c:v>
                </c:pt>
                <c:pt idx="1891">
                  <c:v>#N/A</c:v>
                </c:pt>
                <c:pt idx="1892">
                  <c:v>#N/A</c:v>
                </c:pt>
                <c:pt idx="1893">
                  <c:v>#N/A</c:v>
                </c:pt>
                <c:pt idx="1894">
                  <c:v>#N/A</c:v>
                </c:pt>
                <c:pt idx="1895">
                  <c:v>#N/A</c:v>
                </c:pt>
                <c:pt idx="1896">
                  <c:v>#N/A</c:v>
                </c:pt>
                <c:pt idx="1897">
                  <c:v>#N/A</c:v>
                </c:pt>
                <c:pt idx="1898">
                  <c:v>#N/A</c:v>
                </c:pt>
                <c:pt idx="1899">
                  <c:v>#N/A</c:v>
                </c:pt>
                <c:pt idx="1900">
                  <c:v>#N/A</c:v>
                </c:pt>
                <c:pt idx="1901">
                  <c:v>#N/A</c:v>
                </c:pt>
                <c:pt idx="1902">
                  <c:v>#N/A</c:v>
                </c:pt>
                <c:pt idx="1903">
                  <c:v>#N/A</c:v>
                </c:pt>
                <c:pt idx="1904">
                  <c:v>#N/A</c:v>
                </c:pt>
                <c:pt idx="1905">
                  <c:v>#N/A</c:v>
                </c:pt>
                <c:pt idx="1906">
                  <c:v>#N/A</c:v>
                </c:pt>
                <c:pt idx="1907">
                  <c:v>#N/A</c:v>
                </c:pt>
                <c:pt idx="1908">
                  <c:v>#N/A</c:v>
                </c:pt>
                <c:pt idx="1909">
                  <c:v>#N/A</c:v>
                </c:pt>
                <c:pt idx="1910">
                  <c:v>#N/A</c:v>
                </c:pt>
                <c:pt idx="1911">
                  <c:v>#N/A</c:v>
                </c:pt>
                <c:pt idx="1912">
                  <c:v>#N/A</c:v>
                </c:pt>
                <c:pt idx="1913">
                  <c:v>#N/A</c:v>
                </c:pt>
                <c:pt idx="1914">
                  <c:v>#N/A</c:v>
                </c:pt>
                <c:pt idx="1915">
                  <c:v>#N/A</c:v>
                </c:pt>
                <c:pt idx="1916">
                  <c:v>#N/A</c:v>
                </c:pt>
                <c:pt idx="1917">
                  <c:v>#N/A</c:v>
                </c:pt>
                <c:pt idx="1918">
                  <c:v>#N/A</c:v>
                </c:pt>
                <c:pt idx="1919">
                  <c:v>#N/A</c:v>
                </c:pt>
                <c:pt idx="1920">
                  <c:v>#N/A</c:v>
                </c:pt>
                <c:pt idx="1921">
                  <c:v>#N/A</c:v>
                </c:pt>
                <c:pt idx="1922">
                  <c:v>#N/A</c:v>
                </c:pt>
                <c:pt idx="1923">
                  <c:v>#N/A</c:v>
                </c:pt>
                <c:pt idx="1924">
                  <c:v>#N/A</c:v>
                </c:pt>
                <c:pt idx="1925">
                  <c:v>#N/A</c:v>
                </c:pt>
                <c:pt idx="1926">
                  <c:v>#N/A</c:v>
                </c:pt>
                <c:pt idx="1927">
                  <c:v>#N/A</c:v>
                </c:pt>
                <c:pt idx="1928">
                  <c:v>#N/A</c:v>
                </c:pt>
                <c:pt idx="1929">
                  <c:v>#N/A</c:v>
                </c:pt>
                <c:pt idx="1930">
                  <c:v>#N/A</c:v>
                </c:pt>
                <c:pt idx="1931">
                  <c:v>#N/A</c:v>
                </c:pt>
                <c:pt idx="1932">
                  <c:v>#N/A</c:v>
                </c:pt>
                <c:pt idx="1933">
                  <c:v>#N/A</c:v>
                </c:pt>
                <c:pt idx="1934">
                  <c:v>#N/A</c:v>
                </c:pt>
                <c:pt idx="1935">
                  <c:v>#N/A</c:v>
                </c:pt>
                <c:pt idx="1936">
                  <c:v>#N/A</c:v>
                </c:pt>
                <c:pt idx="1937">
                  <c:v>#N/A</c:v>
                </c:pt>
                <c:pt idx="1938">
                  <c:v>#N/A</c:v>
                </c:pt>
                <c:pt idx="1939">
                  <c:v>#N/A</c:v>
                </c:pt>
                <c:pt idx="1940">
                  <c:v>#N/A</c:v>
                </c:pt>
                <c:pt idx="1941">
                  <c:v>#N/A</c:v>
                </c:pt>
                <c:pt idx="1942">
                  <c:v>#N/A</c:v>
                </c:pt>
                <c:pt idx="1943">
                  <c:v>#N/A</c:v>
                </c:pt>
                <c:pt idx="1944">
                  <c:v>#N/A</c:v>
                </c:pt>
                <c:pt idx="1945">
                  <c:v>#N/A</c:v>
                </c:pt>
                <c:pt idx="1946">
                  <c:v>#N/A</c:v>
                </c:pt>
                <c:pt idx="1947">
                  <c:v>#N/A</c:v>
                </c:pt>
                <c:pt idx="1948">
                  <c:v>#N/A</c:v>
                </c:pt>
                <c:pt idx="1949">
                  <c:v>#N/A</c:v>
                </c:pt>
                <c:pt idx="1950">
                  <c:v>#N/A</c:v>
                </c:pt>
                <c:pt idx="1951">
                  <c:v>#N/A</c:v>
                </c:pt>
                <c:pt idx="1952">
                  <c:v>#N/A</c:v>
                </c:pt>
                <c:pt idx="1953">
                  <c:v>#N/A</c:v>
                </c:pt>
                <c:pt idx="1954">
                  <c:v>#N/A</c:v>
                </c:pt>
                <c:pt idx="1955">
                  <c:v>#N/A</c:v>
                </c:pt>
                <c:pt idx="1956">
                  <c:v>#N/A</c:v>
                </c:pt>
                <c:pt idx="1957">
                  <c:v>#N/A</c:v>
                </c:pt>
                <c:pt idx="1958">
                  <c:v>#N/A</c:v>
                </c:pt>
                <c:pt idx="1959">
                  <c:v>#N/A</c:v>
                </c:pt>
                <c:pt idx="1960">
                  <c:v>#N/A</c:v>
                </c:pt>
                <c:pt idx="1961">
                  <c:v>#N/A</c:v>
                </c:pt>
                <c:pt idx="1962">
                  <c:v>#N/A</c:v>
                </c:pt>
                <c:pt idx="1963">
                  <c:v>#N/A</c:v>
                </c:pt>
                <c:pt idx="1964">
                  <c:v>#N/A</c:v>
                </c:pt>
                <c:pt idx="1965">
                  <c:v>#N/A</c:v>
                </c:pt>
                <c:pt idx="1966">
                  <c:v>#N/A</c:v>
                </c:pt>
                <c:pt idx="1967">
                  <c:v>#N/A</c:v>
                </c:pt>
                <c:pt idx="1968">
                  <c:v>#N/A</c:v>
                </c:pt>
                <c:pt idx="1969">
                  <c:v>#N/A</c:v>
                </c:pt>
                <c:pt idx="1970">
                  <c:v>#N/A</c:v>
                </c:pt>
                <c:pt idx="1971">
                  <c:v>#N/A</c:v>
                </c:pt>
                <c:pt idx="1972">
                  <c:v>#N/A</c:v>
                </c:pt>
                <c:pt idx="1973">
                  <c:v>#N/A</c:v>
                </c:pt>
                <c:pt idx="1974">
                  <c:v>#N/A</c:v>
                </c:pt>
                <c:pt idx="1975">
                  <c:v>#N/A</c:v>
                </c:pt>
                <c:pt idx="1976">
                  <c:v>#N/A</c:v>
                </c:pt>
                <c:pt idx="1977">
                  <c:v>#N/A</c:v>
                </c:pt>
                <c:pt idx="1978">
                  <c:v>#N/A</c:v>
                </c:pt>
                <c:pt idx="1979">
                  <c:v>#N/A</c:v>
                </c:pt>
                <c:pt idx="1980">
                  <c:v>#N/A</c:v>
                </c:pt>
                <c:pt idx="1981">
                  <c:v>#N/A</c:v>
                </c:pt>
                <c:pt idx="1982">
                  <c:v>#N/A</c:v>
                </c:pt>
                <c:pt idx="1983">
                  <c:v>#N/A</c:v>
                </c:pt>
                <c:pt idx="1984">
                  <c:v>#N/A</c:v>
                </c:pt>
                <c:pt idx="1985">
                  <c:v>#N/A</c:v>
                </c:pt>
                <c:pt idx="1986">
                  <c:v>#N/A</c:v>
                </c:pt>
                <c:pt idx="1987">
                  <c:v>#N/A</c:v>
                </c:pt>
                <c:pt idx="1988">
                  <c:v>#N/A</c:v>
                </c:pt>
                <c:pt idx="1989">
                  <c:v>#N/A</c:v>
                </c:pt>
                <c:pt idx="1990">
                  <c:v>#N/A</c:v>
                </c:pt>
                <c:pt idx="1991">
                  <c:v>#N/A</c:v>
                </c:pt>
                <c:pt idx="1992">
                  <c:v>#N/A</c:v>
                </c:pt>
                <c:pt idx="1993">
                  <c:v>#N/A</c:v>
                </c:pt>
                <c:pt idx="1994">
                  <c:v>#N/A</c:v>
                </c:pt>
                <c:pt idx="1995">
                  <c:v>#N/A</c:v>
                </c:pt>
                <c:pt idx="1996">
                  <c:v>#N/A</c:v>
                </c:pt>
                <c:pt idx="1997">
                  <c:v>#N/A</c:v>
                </c:pt>
                <c:pt idx="1998">
                  <c:v>#N/A</c:v>
                </c:pt>
                <c:pt idx="1999">
                  <c:v>#N/A</c:v>
                </c:pt>
                <c:pt idx="2000">
                  <c:v>#N/A</c:v>
                </c:pt>
                <c:pt idx="2001">
                  <c:v>#N/A</c:v>
                </c:pt>
                <c:pt idx="2002">
                  <c:v>#N/A</c:v>
                </c:pt>
                <c:pt idx="2003">
                  <c:v>#N/A</c:v>
                </c:pt>
                <c:pt idx="2004">
                  <c:v>#N/A</c:v>
                </c:pt>
                <c:pt idx="2005">
                  <c:v>#N/A</c:v>
                </c:pt>
                <c:pt idx="2006">
                  <c:v>#N/A</c:v>
                </c:pt>
                <c:pt idx="2007">
                  <c:v>#N/A</c:v>
                </c:pt>
                <c:pt idx="2008">
                  <c:v>#N/A</c:v>
                </c:pt>
                <c:pt idx="2009">
                  <c:v>#N/A</c:v>
                </c:pt>
                <c:pt idx="2010">
                  <c:v>#N/A</c:v>
                </c:pt>
                <c:pt idx="2011">
                  <c:v>#N/A</c:v>
                </c:pt>
                <c:pt idx="2012">
                  <c:v>#N/A</c:v>
                </c:pt>
                <c:pt idx="2013">
                  <c:v>#N/A</c:v>
                </c:pt>
                <c:pt idx="2014">
                  <c:v>#N/A</c:v>
                </c:pt>
                <c:pt idx="2015">
                  <c:v>#N/A</c:v>
                </c:pt>
                <c:pt idx="2016">
                  <c:v>#N/A</c:v>
                </c:pt>
                <c:pt idx="2017">
                  <c:v>#N/A</c:v>
                </c:pt>
                <c:pt idx="2018">
                  <c:v>#N/A</c:v>
                </c:pt>
                <c:pt idx="2019">
                  <c:v>#N/A</c:v>
                </c:pt>
                <c:pt idx="2020">
                  <c:v>#N/A</c:v>
                </c:pt>
                <c:pt idx="2021">
                  <c:v>#N/A</c:v>
                </c:pt>
                <c:pt idx="2022">
                  <c:v>#N/A</c:v>
                </c:pt>
                <c:pt idx="2023">
                  <c:v>#N/A</c:v>
                </c:pt>
                <c:pt idx="2024">
                  <c:v>#N/A</c:v>
                </c:pt>
                <c:pt idx="2025">
                  <c:v>#N/A</c:v>
                </c:pt>
                <c:pt idx="2026">
                  <c:v>#N/A</c:v>
                </c:pt>
                <c:pt idx="2027">
                  <c:v>#N/A</c:v>
                </c:pt>
                <c:pt idx="2028">
                  <c:v>#N/A</c:v>
                </c:pt>
                <c:pt idx="2029">
                  <c:v>#N/A</c:v>
                </c:pt>
                <c:pt idx="2030">
                  <c:v>#N/A</c:v>
                </c:pt>
                <c:pt idx="2031">
                  <c:v>#N/A</c:v>
                </c:pt>
                <c:pt idx="2032">
                  <c:v>#N/A</c:v>
                </c:pt>
                <c:pt idx="2033">
                  <c:v>#N/A</c:v>
                </c:pt>
                <c:pt idx="2034">
                  <c:v>#N/A</c:v>
                </c:pt>
                <c:pt idx="2035">
                  <c:v>#N/A</c:v>
                </c:pt>
                <c:pt idx="2036">
                  <c:v>#N/A</c:v>
                </c:pt>
                <c:pt idx="2037">
                  <c:v>#N/A</c:v>
                </c:pt>
                <c:pt idx="2038">
                  <c:v>#N/A</c:v>
                </c:pt>
                <c:pt idx="2039">
                  <c:v>#N/A</c:v>
                </c:pt>
                <c:pt idx="2040">
                  <c:v>#N/A</c:v>
                </c:pt>
                <c:pt idx="2041">
                  <c:v>#N/A</c:v>
                </c:pt>
                <c:pt idx="2042">
                  <c:v>#N/A</c:v>
                </c:pt>
                <c:pt idx="2043">
                  <c:v>#N/A</c:v>
                </c:pt>
                <c:pt idx="2044">
                  <c:v>#N/A</c:v>
                </c:pt>
                <c:pt idx="2045">
                  <c:v>#N/A</c:v>
                </c:pt>
                <c:pt idx="2046">
                  <c:v>#N/A</c:v>
                </c:pt>
                <c:pt idx="2047">
                  <c:v>#N/A</c:v>
                </c:pt>
                <c:pt idx="2048">
                  <c:v>#N/A</c:v>
                </c:pt>
                <c:pt idx="2049">
                  <c:v>#N/A</c:v>
                </c:pt>
                <c:pt idx="2050">
                  <c:v>#N/A</c:v>
                </c:pt>
                <c:pt idx="2051">
                  <c:v>#N/A</c:v>
                </c:pt>
                <c:pt idx="2052">
                  <c:v>#N/A</c:v>
                </c:pt>
                <c:pt idx="2053">
                  <c:v>#N/A</c:v>
                </c:pt>
                <c:pt idx="2054">
                  <c:v>#N/A</c:v>
                </c:pt>
                <c:pt idx="2055">
                  <c:v>#N/A</c:v>
                </c:pt>
                <c:pt idx="2056">
                  <c:v>#N/A</c:v>
                </c:pt>
                <c:pt idx="2057">
                  <c:v>#N/A</c:v>
                </c:pt>
                <c:pt idx="2058">
                  <c:v>#N/A</c:v>
                </c:pt>
                <c:pt idx="2059">
                  <c:v>#N/A</c:v>
                </c:pt>
                <c:pt idx="2060">
                  <c:v>#N/A</c:v>
                </c:pt>
                <c:pt idx="2061">
                  <c:v>#N/A</c:v>
                </c:pt>
                <c:pt idx="2062">
                  <c:v>#N/A</c:v>
                </c:pt>
                <c:pt idx="2063">
                  <c:v>#N/A</c:v>
                </c:pt>
                <c:pt idx="2064">
                  <c:v>#N/A</c:v>
                </c:pt>
                <c:pt idx="2065">
                  <c:v>#N/A</c:v>
                </c:pt>
                <c:pt idx="2066">
                  <c:v>#N/A</c:v>
                </c:pt>
                <c:pt idx="2067">
                  <c:v>#N/A</c:v>
                </c:pt>
                <c:pt idx="2068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76-4C04-9390-13B05455FD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2688064"/>
        <c:axId val="832682160"/>
      </c:lineChart>
      <c:dateAx>
        <c:axId val="87381528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816272"/>
        <c:crosses val="autoZero"/>
        <c:auto val="1"/>
        <c:lblOffset val="100"/>
        <c:baseTimeUnit val="days"/>
      </c:dateAx>
      <c:valAx>
        <c:axId val="873816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cm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815288"/>
        <c:crosses val="autoZero"/>
        <c:crossBetween val="between"/>
        <c:majorUnit val="20"/>
      </c:valAx>
      <c:valAx>
        <c:axId val="83268216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2688064"/>
        <c:crosses val="max"/>
        <c:crossBetween val="between"/>
      </c:valAx>
      <c:dateAx>
        <c:axId val="83268806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83268216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PE flo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1!$CF$4</c:f>
              <c:strCache>
                <c:ptCount val="1"/>
                <c:pt idx="0">
                  <c:v>NS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F$5:$CF$247</c:f>
              <c:numCache>
                <c:formatCode>_(* #,##0_);_(* \(#,##0\);_(* "-"??_);_(@_)</c:formatCode>
                <c:ptCount val="243"/>
                <c:pt idx="0">
                  <c:v>156.44111001281348</c:v>
                </c:pt>
                <c:pt idx="1">
                  <c:v>157.6474091158704</c:v>
                </c:pt>
                <c:pt idx="2">
                  <c:v>155.76820117151749</c:v>
                </c:pt>
                <c:pt idx="3">
                  <c:v>155.36359729086581</c:v>
                </c:pt>
                <c:pt idx="4">
                  <c:v>157.55940508877904</c:v>
                </c:pt>
                <c:pt idx="5">
                  <c:v>156.20929452681676</c:v>
                </c:pt>
                <c:pt idx="6">
                  <c:v>157.50574409665018</c:v>
                </c:pt>
                <c:pt idx="7">
                  <c:v>157</c:v>
                </c:pt>
                <c:pt idx="8">
                  <c:v>155.09958520959179</c:v>
                </c:pt>
                <c:pt idx="9">
                  <c:v>155.08241369211055</c:v>
                </c:pt>
                <c:pt idx="10">
                  <c:v>155.10817096833239</c:v>
                </c:pt>
                <c:pt idx="11">
                  <c:v>155.0942191103789</c:v>
                </c:pt>
                <c:pt idx="12">
                  <c:v>155.04270455793522</c:v>
                </c:pt>
                <c:pt idx="13">
                  <c:v>154.91499139666848</c:v>
                </c:pt>
                <c:pt idx="14">
                  <c:v>155.28525224235767</c:v>
                </c:pt>
                <c:pt idx="15">
                  <c:v>155.07382793336996</c:v>
                </c:pt>
                <c:pt idx="16">
                  <c:v>157.55081933003845</c:v>
                </c:pt>
                <c:pt idx="17">
                  <c:v>155.14466044298004</c:v>
                </c:pt>
                <c:pt idx="18">
                  <c:v>155.08777979132344</c:v>
                </c:pt>
                <c:pt idx="19">
                  <c:v>155.15861230093356</c:v>
                </c:pt>
                <c:pt idx="20">
                  <c:v>155.12212282628593</c:v>
                </c:pt>
                <c:pt idx="21">
                  <c:v>155.06309573494417</c:v>
                </c:pt>
                <c:pt idx="22">
                  <c:v>155.07812081274025</c:v>
                </c:pt>
                <c:pt idx="23">
                  <c:v>155.05129031667582</c:v>
                </c:pt>
                <c:pt idx="24">
                  <c:v>157.60877320153764</c:v>
                </c:pt>
                <c:pt idx="25">
                  <c:v>157.51540307523339</c:v>
                </c:pt>
                <c:pt idx="26">
                  <c:v>157.50467087680761</c:v>
                </c:pt>
                <c:pt idx="27">
                  <c:v>157.61091964122278</c:v>
                </c:pt>
                <c:pt idx="28">
                  <c:v>157.50681731649274</c:v>
                </c:pt>
                <c:pt idx="29">
                  <c:v>157.58838202452864</c:v>
                </c:pt>
                <c:pt idx="30">
                  <c:v>157.53150137287204</c:v>
                </c:pt>
                <c:pt idx="31">
                  <c:v>167.27848398315945</c:v>
                </c:pt>
                <c:pt idx="32">
                  <c:v>167.22696943071571</c:v>
                </c:pt>
                <c:pt idx="33">
                  <c:v>167.89129251327111</c:v>
                </c:pt>
                <c:pt idx="34">
                  <c:v>167.11320812740252</c:v>
                </c:pt>
                <c:pt idx="35">
                  <c:v>167.64445194947831</c:v>
                </c:pt>
                <c:pt idx="36">
                  <c:v>167.31282701812194</c:v>
                </c:pt>
                <c:pt idx="37">
                  <c:v>167.32677887607542</c:v>
                </c:pt>
                <c:pt idx="38">
                  <c:v>167.03271663920924</c:v>
                </c:pt>
                <c:pt idx="39">
                  <c:v>167.40727036426873</c:v>
                </c:pt>
                <c:pt idx="40">
                  <c:v>163.4256247483068</c:v>
                </c:pt>
                <c:pt idx="41">
                  <c:v>163.2313719568003</c:v>
                </c:pt>
                <c:pt idx="42">
                  <c:v>163.21742009884679</c:v>
                </c:pt>
                <c:pt idx="43">
                  <c:v>163.178784184514</c:v>
                </c:pt>
                <c:pt idx="44">
                  <c:v>164.37864396851546</c:v>
                </c:pt>
                <c:pt idx="45">
                  <c:v>167.3181931173348</c:v>
                </c:pt>
                <c:pt idx="46">
                  <c:v>156.59994654951493</c:v>
                </c:pt>
                <c:pt idx="47">
                  <c:v>156.59780010982979</c:v>
                </c:pt>
                <c:pt idx="48">
                  <c:v>162.01970675453049</c:v>
                </c:pt>
                <c:pt idx="49">
                  <c:v>156.60531264872782</c:v>
                </c:pt>
                <c:pt idx="50">
                  <c:v>156.55057843675635</c:v>
                </c:pt>
                <c:pt idx="51">
                  <c:v>156.69117023613398</c:v>
                </c:pt>
                <c:pt idx="52">
                  <c:v>161.80720922570015</c:v>
                </c:pt>
                <c:pt idx="53">
                  <c:v>167.95246604429798</c:v>
                </c:pt>
                <c:pt idx="54">
                  <c:v>167.31282701812191</c:v>
                </c:pt>
                <c:pt idx="55">
                  <c:v>167.10247592897676</c:v>
                </c:pt>
                <c:pt idx="56">
                  <c:v>168.07481310635183</c:v>
                </c:pt>
                <c:pt idx="57">
                  <c:v>167.2323355299286</c:v>
                </c:pt>
                <c:pt idx="58">
                  <c:v>167.33858429434378</c:v>
                </c:pt>
                <c:pt idx="59">
                  <c:v>166.47464232106898</c:v>
                </c:pt>
                <c:pt idx="60">
                  <c:v>167.42873476112027</c:v>
                </c:pt>
                <c:pt idx="61">
                  <c:v>162.34811202635916</c:v>
                </c:pt>
                <c:pt idx="62">
                  <c:v>171.32559600951856</c:v>
                </c:pt>
                <c:pt idx="63">
                  <c:v>168.45044005125391</c:v>
                </c:pt>
                <c:pt idx="64">
                  <c:v>167.08101153212522</c:v>
                </c:pt>
                <c:pt idx="65">
                  <c:v>167.58327841845141</c:v>
                </c:pt>
                <c:pt idx="66">
                  <c:v>167.25272670693758</c:v>
                </c:pt>
                <c:pt idx="67">
                  <c:v>167.28277686252977</c:v>
                </c:pt>
                <c:pt idx="68">
                  <c:v>167.09710982976389</c:v>
                </c:pt>
                <c:pt idx="69">
                  <c:v>167.61976789309904</c:v>
                </c:pt>
                <c:pt idx="70">
                  <c:v>166.9007105985722</c:v>
                </c:pt>
                <c:pt idx="71">
                  <c:v>167.04452205747759</c:v>
                </c:pt>
                <c:pt idx="72">
                  <c:v>167.71957733845875</c:v>
                </c:pt>
                <c:pt idx="73">
                  <c:v>167.08959729086581</c:v>
                </c:pt>
                <c:pt idx="74">
                  <c:v>154.09290499725427</c:v>
                </c:pt>
                <c:pt idx="75">
                  <c:v>142.7532641405821</c:v>
                </c:pt>
                <c:pt idx="76">
                  <c:v>130.88667234120447</c:v>
                </c:pt>
                <c:pt idx="77">
                  <c:v>131.36210873146621</c:v>
                </c:pt>
                <c:pt idx="78">
                  <c:v>131.32561925681861</c:v>
                </c:pt>
                <c:pt idx="79">
                  <c:v>138.53765659893833</c:v>
                </c:pt>
                <c:pt idx="80">
                  <c:v>150.0608180486912</c:v>
                </c:pt>
                <c:pt idx="81">
                  <c:v>149.2322923302215</c:v>
                </c:pt>
                <c:pt idx="82">
                  <c:v>160.22420995789861</c:v>
                </c:pt>
                <c:pt idx="83">
                  <c:v>167.78719018854108</c:v>
                </c:pt>
                <c:pt idx="84">
                  <c:v>160.16303642687166</c:v>
                </c:pt>
                <c:pt idx="85">
                  <c:v>167.7635793520044</c:v>
                </c:pt>
                <c:pt idx="86">
                  <c:v>167.78075086948564</c:v>
                </c:pt>
                <c:pt idx="87">
                  <c:v>167.7303095368845</c:v>
                </c:pt>
                <c:pt idx="88">
                  <c:v>167.33214497528832</c:v>
                </c:pt>
                <c:pt idx="89">
                  <c:v>167.21945689181769</c:v>
                </c:pt>
                <c:pt idx="90">
                  <c:v>166.8449031667582</c:v>
                </c:pt>
                <c:pt idx="91">
                  <c:v>167.83655830129965</c:v>
                </c:pt>
                <c:pt idx="92">
                  <c:v>167.34073073402891</c:v>
                </c:pt>
                <c:pt idx="93">
                  <c:v>167.3139002379645</c:v>
                </c:pt>
                <c:pt idx="94">
                  <c:v>167.9331480871316</c:v>
                </c:pt>
                <c:pt idx="95">
                  <c:v>167.30102159985358</c:v>
                </c:pt>
                <c:pt idx="96">
                  <c:v>166.96510378912686</c:v>
                </c:pt>
                <c:pt idx="97">
                  <c:v>167.15184404173533</c:v>
                </c:pt>
                <c:pt idx="98">
                  <c:v>167.27848398315945</c:v>
                </c:pt>
                <c:pt idx="99">
                  <c:v>167.14433150283728</c:v>
                </c:pt>
                <c:pt idx="100">
                  <c:v>168.02007889438039</c:v>
                </c:pt>
                <c:pt idx="101">
                  <c:v>167.33107175544575</c:v>
                </c:pt>
                <c:pt idx="102">
                  <c:v>167.29887516016839</c:v>
                </c:pt>
                <c:pt idx="103">
                  <c:v>167.34824327292699</c:v>
                </c:pt>
                <c:pt idx="104">
                  <c:v>167.24306772835439</c:v>
                </c:pt>
                <c:pt idx="105">
                  <c:v>167.36004869119532</c:v>
                </c:pt>
                <c:pt idx="106">
                  <c:v>167.16364946000365</c:v>
                </c:pt>
                <c:pt idx="107">
                  <c:v>167.30424125938129</c:v>
                </c:pt>
                <c:pt idx="108">
                  <c:v>166.88353908109099</c:v>
                </c:pt>
                <c:pt idx="109">
                  <c:v>167.54356928427603</c:v>
                </c:pt>
                <c:pt idx="110">
                  <c:v>167.44483305875895</c:v>
                </c:pt>
                <c:pt idx="111">
                  <c:v>166.96403056928426</c:v>
                </c:pt>
                <c:pt idx="112">
                  <c:v>166.10760113490755</c:v>
                </c:pt>
                <c:pt idx="113">
                  <c:v>167.29672872048326</c:v>
                </c:pt>
                <c:pt idx="114">
                  <c:v>167.80543492586492</c:v>
                </c:pt>
                <c:pt idx="115">
                  <c:v>167.66806278601501</c:v>
                </c:pt>
                <c:pt idx="116">
                  <c:v>165.21790188541095</c:v>
                </c:pt>
                <c:pt idx="117">
                  <c:v>165.13955683690278</c:v>
                </c:pt>
                <c:pt idx="118">
                  <c:v>164.97642742083104</c:v>
                </c:pt>
                <c:pt idx="119">
                  <c:v>164.96891488193302</c:v>
                </c:pt>
                <c:pt idx="120">
                  <c:v>165.19107138934652</c:v>
                </c:pt>
                <c:pt idx="121">
                  <c:v>167.49312795167492</c:v>
                </c:pt>
                <c:pt idx="122">
                  <c:v>167.25594636646531</c:v>
                </c:pt>
                <c:pt idx="123">
                  <c:v>167.39975782537067</c:v>
                </c:pt>
                <c:pt idx="124">
                  <c:v>167.26345890536334</c:v>
                </c:pt>
                <c:pt idx="125">
                  <c:v>167.30316803953872</c:v>
                </c:pt>
                <c:pt idx="126">
                  <c:v>167.41800256269451</c:v>
                </c:pt>
                <c:pt idx="127">
                  <c:v>167.25165348709501</c:v>
                </c:pt>
                <c:pt idx="128">
                  <c:v>167.51029946915617</c:v>
                </c:pt>
                <c:pt idx="129">
                  <c:v>167.23555518945636</c:v>
                </c:pt>
                <c:pt idx="130">
                  <c:v>167.22053011166025</c:v>
                </c:pt>
                <c:pt idx="131">
                  <c:v>166.85456214534139</c:v>
                </c:pt>
                <c:pt idx="132">
                  <c:v>167.35146293245469</c:v>
                </c:pt>
                <c:pt idx="133">
                  <c:v>167.25165348709498</c:v>
                </c:pt>
                <c:pt idx="134">
                  <c:v>167.65625736774663</c:v>
                </c:pt>
                <c:pt idx="135">
                  <c:v>167.54893538348892</c:v>
                </c:pt>
                <c:pt idx="136">
                  <c:v>167.2892161815852</c:v>
                </c:pt>
                <c:pt idx="137">
                  <c:v>167.11642778693027</c:v>
                </c:pt>
                <c:pt idx="138">
                  <c:v>167.41263646348159</c:v>
                </c:pt>
                <c:pt idx="139">
                  <c:v>167.33643785465861</c:v>
                </c:pt>
                <c:pt idx="140">
                  <c:v>167.27848398315945</c:v>
                </c:pt>
                <c:pt idx="141">
                  <c:v>167.29243584111296</c:v>
                </c:pt>
                <c:pt idx="142">
                  <c:v>167.32463243639029</c:v>
                </c:pt>
                <c:pt idx="143">
                  <c:v>167.24521416803952</c:v>
                </c:pt>
                <c:pt idx="144">
                  <c:v>167.26667856489109</c:v>
                </c:pt>
                <c:pt idx="145">
                  <c:v>167.30638769906642</c:v>
                </c:pt>
                <c:pt idx="146">
                  <c:v>164.47952663371774</c:v>
                </c:pt>
                <c:pt idx="147">
                  <c:v>167.36648801025081</c:v>
                </c:pt>
                <c:pt idx="148">
                  <c:v>167.20765147354933</c:v>
                </c:pt>
                <c:pt idx="149">
                  <c:v>167.39331850631521</c:v>
                </c:pt>
                <c:pt idx="150">
                  <c:v>150.31087827201173</c:v>
                </c:pt>
                <c:pt idx="151">
                  <c:v>166.84597638660077</c:v>
                </c:pt>
                <c:pt idx="152">
                  <c:v>165.72660809079261</c:v>
                </c:pt>
                <c:pt idx="153">
                  <c:v>163.71861376533042</c:v>
                </c:pt>
                <c:pt idx="154">
                  <c:v>152.43585356031485</c:v>
                </c:pt>
                <c:pt idx="155">
                  <c:v>152.54424876441516</c:v>
                </c:pt>
                <c:pt idx="156">
                  <c:v>154.86562328390994</c:v>
                </c:pt>
                <c:pt idx="157">
                  <c:v>150.78631466227347</c:v>
                </c:pt>
                <c:pt idx="158">
                  <c:v>147.9240373421197</c:v>
                </c:pt>
                <c:pt idx="159">
                  <c:v>141.98483873329673</c:v>
                </c:pt>
                <c:pt idx="160">
                  <c:v>143.50237159070105</c:v>
                </c:pt>
                <c:pt idx="161">
                  <c:v>139.50355445725793</c:v>
                </c:pt>
                <c:pt idx="162">
                  <c:v>142.58476862529744</c:v>
                </c:pt>
                <c:pt idx="163">
                  <c:v>114.74651912868387</c:v>
                </c:pt>
                <c:pt idx="164">
                  <c:v>99.961842577338473</c:v>
                </c:pt>
                <c:pt idx="165">
                  <c:v>94.011911770089696</c:v>
                </c:pt>
                <c:pt idx="166">
                  <c:v>68.488597473915434</c:v>
                </c:pt>
                <c:pt idx="167">
                  <c:v>66.937794801391178</c:v>
                </c:pt>
                <c:pt idx="168">
                  <c:v>66.754274208310449</c:v>
                </c:pt>
                <c:pt idx="169">
                  <c:v>66.957112758557571</c:v>
                </c:pt>
                <c:pt idx="170">
                  <c:v>66.953893099029841</c:v>
                </c:pt>
                <c:pt idx="171">
                  <c:v>67.042970345963766</c:v>
                </c:pt>
                <c:pt idx="172">
                  <c:v>66.936721581548596</c:v>
                </c:pt>
                <c:pt idx="173">
                  <c:v>66.93994124107634</c:v>
                </c:pt>
                <c:pt idx="174">
                  <c:v>66.994675453047776</c:v>
                </c:pt>
                <c:pt idx="175">
                  <c:v>66.953893099029841</c:v>
                </c:pt>
                <c:pt idx="176">
                  <c:v>66.958185978400152</c:v>
                </c:pt>
                <c:pt idx="177">
                  <c:v>67.00433443163098</c:v>
                </c:pt>
                <c:pt idx="178">
                  <c:v>66.95603953871499</c:v>
                </c:pt>
                <c:pt idx="179">
                  <c:v>67.009700530843858</c:v>
                </c:pt>
                <c:pt idx="180">
                  <c:v>66.947453779974381</c:v>
                </c:pt>
                <c:pt idx="181">
                  <c:v>66.988236133992302</c:v>
                </c:pt>
                <c:pt idx="182">
                  <c:v>66.927062602965407</c:v>
                </c:pt>
                <c:pt idx="183">
                  <c:v>66.947453779974381</c:v>
                </c:pt>
                <c:pt idx="184">
                  <c:v>67.461526084568916</c:v>
                </c:pt>
                <c:pt idx="185">
                  <c:v>66.382940142778693</c:v>
                </c:pt>
                <c:pt idx="186">
                  <c:v>67.09555811825004</c:v>
                </c:pt>
                <c:pt idx="187">
                  <c:v>66.933501922020866</c:v>
                </c:pt>
                <c:pt idx="188">
                  <c:v>66.95281987918726</c:v>
                </c:pt>
                <c:pt idx="189">
                  <c:v>67.464745744096646</c:v>
                </c:pt>
                <c:pt idx="190">
                  <c:v>66.487042467508701</c:v>
                </c:pt>
                <c:pt idx="191">
                  <c:v>5.6719668680212338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66.197273110012816</c:v>
                </c:pt>
                <c:pt idx="202">
                  <c:v>66.908817865641595</c:v>
                </c:pt>
                <c:pt idx="203">
                  <c:v>66.3636221856123</c:v>
                </c:pt>
                <c:pt idx="204">
                  <c:v>66.674855939959727</c:v>
                </c:pt>
                <c:pt idx="205">
                  <c:v>66.895939227530661</c:v>
                </c:pt>
                <c:pt idx="206">
                  <c:v>63.727794252242361</c:v>
                </c:pt>
                <c:pt idx="207">
                  <c:v>35.511771371041554</c:v>
                </c:pt>
                <c:pt idx="208">
                  <c:v>32.98111898224419</c:v>
                </c:pt>
                <c:pt idx="209">
                  <c:v>32.973606443346149</c:v>
                </c:pt>
                <c:pt idx="210">
                  <c:v>32.972533223503568</c:v>
                </c:pt>
                <c:pt idx="211">
                  <c:v>30.236895844773933</c:v>
                </c:pt>
                <c:pt idx="212">
                  <c:v>31.845652388797362</c:v>
                </c:pt>
                <c:pt idx="213">
                  <c:v>32.975752883031298</c:v>
                </c:pt>
                <c:pt idx="214">
                  <c:v>32.973606443346142</c:v>
                </c:pt>
                <c:pt idx="215">
                  <c:v>32.934970529013363</c:v>
                </c:pt>
                <c:pt idx="216">
                  <c:v>32.9521420464946</c:v>
                </c:pt>
                <c:pt idx="217">
                  <c:v>33.01975489657697</c:v>
                </c:pt>
                <c:pt idx="218">
                  <c:v>32.970386783818412</c:v>
                </c:pt>
                <c:pt idx="219">
                  <c:v>32.986485081457076</c:v>
                </c:pt>
                <c:pt idx="220">
                  <c:v>32.946775947281715</c:v>
                </c:pt>
                <c:pt idx="221">
                  <c:v>32.610858136555002</c:v>
                </c:pt>
                <c:pt idx="222">
                  <c:v>32.828721764598207</c:v>
                </c:pt>
                <c:pt idx="223">
                  <c:v>32.850186161449756</c:v>
                </c:pt>
                <c:pt idx="224">
                  <c:v>33.132442980047593</c:v>
                </c:pt>
                <c:pt idx="225">
                  <c:v>32.837307523338829</c:v>
                </c:pt>
                <c:pt idx="226">
                  <c:v>33.175371773750683</c:v>
                </c:pt>
                <c:pt idx="227">
                  <c:v>33.274107999267805</c:v>
                </c:pt>
                <c:pt idx="228">
                  <c:v>32.996144060040272</c:v>
                </c:pt>
                <c:pt idx="229">
                  <c:v>32.956434925864905</c:v>
                </c:pt>
                <c:pt idx="230">
                  <c:v>32.978972542559035</c:v>
                </c:pt>
                <c:pt idx="231">
                  <c:v>32.978972542559035</c:v>
                </c:pt>
                <c:pt idx="232">
                  <c:v>32.962874244920371</c:v>
                </c:pt>
                <c:pt idx="233">
                  <c:v>32.927457990115322</c:v>
                </c:pt>
                <c:pt idx="234">
                  <c:v>32.940336628226248</c:v>
                </c:pt>
                <c:pt idx="235">
                  <c:v>32.98755830129965</c:v>
                </c:pt>
                <c:pt idx="236">
                  <c:v>33.015462017206666</c:v>
                </c:pt>
                <c:pt idx="237">
                  <c:v>32.992924400512535</c:v>
                </c:pt>
                <c:pt idx="238">
                  <c:v>33.028340655317592</c:v>
                </c:pt>
                <c:pt idx="239">
                  <c:v>33.010095917993773</c:v>
                </c:pt>
                <c:pt idx="240">
                  <c:v>33.119564341936666</c:v>
                </c:pt>
                <c:pt idx="241">
                  <c:v>27.677266520226983</c:v>
                </c:pt>
                <c:pt idx="242">
                  <c:v>2.25376166941241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9B-4B80-A895-FF4F8C6948E7}"/>
            </c:ext>
          </c:extLst>
        </c:ser>
        <c:ser>
          <c:idx val="1"/>
          <c:order val="1"/>
          <c:tx>
            <c:strRef>
              <c:f>Hárok1!$CG$4</c:f>
              <c:strCache>
                <c:ptCount val="1"/>
                <c:pt idx="0">
                  <c:v>V. Kapusan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G$5:$CG$247</c:f>
              <c:numCache>
                <c:formatCode>_(* #,##0_);_(* \(#,##0\);_(* "-"??_);_(@_)</c:formatCode>
                <c:ptCount val="243"/>
                <c:pt idx="0">
                  <c:v>49.372519083969465</c:v>
                </c:pt>
                <c:pt idx="1">
                  <c:v>35.908969465648859</c:v>
                </c:pt>
                <c:pt idx="2">
                  <c:v>26.369847328244273</c:v>
                </c:pt>
                <c:pt idx="3">
                  <c:v>27.238931297709922</c:v>
                </c:pt>
                <c:pt idx="4">
                  <c:v>27.185877862595419</c:v>
                </c:pt>
                <c:pt idx="5">
                  <c:v>28.29465648854962</c:v>
                </c:pt>
                <c:pt idx="6">
                  <c:v>27.649427480916032</c:v>
                </c:pt>
                <c:pt idx="7">
                  <c:v>27.523091603053434</c:v>
                </c:pt>
                <c:pt idx="8">
                  <c:v>27.343034351145036</c:v>
                </c:pt>
                <c:pt idx="9">
                  <c:v>31.491793893129771</c:v>
                </c:pt>
                <c:pt idx="10">
                  <c:v>28.299522900763357</c:v>
                </c:pt>
                <c:pt idx="11">
                  <c:v>37.074904580152669</c:v>
                </c:pt>
                <c:pt idx="12">
                  <c:v>34.431583969465649</c:v>
                </c:pt>
                <c:pt idx="13">
                  <c:v>29.941030534351142</c:v>
                </c:pt>
                <c:pt idx="14">
                  <c:v>27.676717557251909</c:v>
                </c:pt>
                <c:pt idx="15">
                  <c:v>27.458015267175572</c:v>
                </c:pt>
                <c:pt idx="16">
                  <c:v>27.462309160305342</c:v>
                </c:pt>
                <c:pt idx="17">
                  <c:v>27.470515267175575</c:v>
                </c:pt>
                <c:pt idx="18">
                  <c:v>27.491030534351143</c:v>
                </c:pt>
                <c:pt idx="19">
                  <c:v>27.494083969465645</c:v>
                </c:pt>
                <c:pt idx="20">
                  <c:v>33.76832061068702</c:v>
                </c:pt>
                <c:pt idx="21">
                  <c:v>27.465171755725187</c:v>
                </c:pt>
                <c:pt idx="22">
                  <c:v>27.560782442748089</c:v>
                </c:pt>
                <c:pt idx="23">
                  <c:v>42.545038167938934</c:v>
                </c:pt>
                <c:pt idx="24">
                  <c:v>43.329484732824426</c:v>
                </c:pt>
                <c:pt idx="25">
                  <c:v>57.633683206106866</c:v>
                </c:pt>
                <c:pt idx="26">
                  <c:v>49.747614503816791</c:v>
                </c:pt>
                <c:pt idx="27">
                  <c:v>44.159828244274806</c:v>
                </c:pt>
                <c:pt idx="28">
                  <c:v>44.020801526717555</c:v>
                </c:pt>
                <c:pt idx="29">
                  <c:v>43.680152671755721</c:v>
                </c:pt>
                <c:pt idx="30">
                  <c:v>49.025286259541978</c:v>
                </c:pt>
                <c:pt idx="31">
                  <c:v>80.171897000000001</c:v>
                </c:pt>
                <c:pt idx="32">
                  <c:v>63.340811000000002</c:v>
                </c:pt>
                <c:pt idx="33">
                  <c:v>54.016432999999999</c:v>
                </c:pt>
                <c:pt idx="34">
                  <c:v>54.102195000000002</c:v>
                </c:pt>
                <c:pt idx="35">
                  <c:v>60.955159000000002</c:v>
                </c:pt>
                <c:pt idx="36">
                  <c:v>63.770136000000001</c:v>
                </c:pt>
                <c:pt idx="37">
                  <c:v>69.662660000000002</c:v>
                </c:pt>
                <c:pt idx="38">
                  <c:v>56.842717</c:v>
                </c:pt>
                <c:pt idx="39">
                  <c:v>51.124386999999999</c:v>
                </c:pt>
                <c:pt idx="40">
                  <c:v>30.826362</c:v>
                </c:pt>
                <c:pt idx="41">
                  <c:v>26.693683</c:v>
                </c:pt>
                <c:pt idx="42">
                  <c:v>26.549123000000002</c:v>
                </c:pt>
                <c:pt idx="43">
                  <c:v>27.125036999999999</c:v>
                </c:pt>
                <c:pt idx="44">
                  <c:v>38.106181999999997</c:v>
                </c:pt>
                <c:pt idx="45">
                  <c:v>45.39479</c:v>
                </c:pt>
                <c:pt idx="46">
                  <c:v>26.535727999999999</c:v>
                </c:pt>
                <c:pt idx="47">
                  <c:v>24.928003</c:v>
                </c:pt>
                <c:pt idx="48">
                  <c:v>24.974761999999998</c:v>
                </c:pt>
                <c:pt idx="49">
                  <c:v>22.767520000000001</c:v>
                </c:pt>
                <c:pt idx="50">
                  <c:v>22.733820000000001</c:v>
                </c:pt>
                <c:pt idx="51">
                  <c:v>24.895105999999998</c:v>
                </c:pt>
                <c:pt idx="52">
                  <c:v>25.351717000000001</c:v>
                </c:pt>
                <c:pt idx="53">
                  <c:v>35.477513000000002</c:v>
                </c:pt>
                <c:pt idx="54">
                  <c:v>58.698701999999997</c:v>
                </c:pt>
                <c:pt idx="55">
                  <c:v>80.141666999999998</c:v>
                </c:pt>
                <c:pt idx="56">
                  <c:v>80.128625</c:v>
                </c:pt>
                <c:pt idx="57">
                  <c:v>80.205130999999994</c:v>
                </c:pt>
                <c:pt idx="58">
                  <c:v>80.266992000000002</c:v>
                </c:pt>
                <c:pt idx="59">
                  <c:v>83.105265000000003</c:v>
                </c:pt>
                <c:pt idx="60">
                  <c:v>83.231149000000002</c:v>
                </c:pt>
                <c:pt idx="61">
                  <c:v>83.317408</c:v>
                </c:pt>
                <c:pt idx="62">
                  <c:v>83.256247999999999</c:v>
                </c:pt>
                <c:pt idx="63">
                  <c:v>83.292529999999999</c:v>
                </c:pt>
                <c:pt idx="64">
                  <c:v>83.315273000000005</c:v>
                </c:pt>
                <c:pt idx="65">
                  <c:v>83.259404000000004</c:v>
                </c:pt>
                <c:pt idx="66">
                  <c:v>83.259037000000006</c:v>
                </c:pt>
                <c:pt idx="67">
                  <c:v>83.136508000000006</c:v>
                </c:pt>
                <c:pt idx="68">
                  <c:v>83.198954999999998</c:v>
                </c:pt>
                <c:pt idx="69">
                  <c:v>83.246787999999995</c:v>
                </c:pt>
                <c:pt idx="70">
                  <c:v>83.254377000000005</c:v>
                </c:pt>
                <c:pt idx="71">
                  <c:v>83.220933000000002</c:v>
                </c:pt>
                <c:pt idx="72">
                  <c:v>82.979523999999998</c:v>
                </c:pt>
                <c:pt idx="73">
                  <c:v>78.029016999999996</c:v>
                </c:pt>
                <c:pt idx="74">
                  <c:v>68.627534999999995</c:v>
                </c:pt>
                <c:pt idx="75">
                  <c:v>68.162017000000006</c:v>
                </c:pt>
                <c:pt idx="76">
                  <c:v>80.127402000000004</c:v>
                </c:pt>
                <c:pt idx="77">
                  <c:v>80.202078</c:v>
                </c:pt>
                <c:pt idx="78">
                  <c:v>80.107844</c:v>
                </c:pt>
                <c:pt idx="79">
                  <c:v>82.494932000000006</c:v>
                </c:pt>
                <c:pt idx="80">
                  <c:v>83.002977000000001</c:v>
                </c:pt>
                <c:pt idx="81">
                  <c:v>80.087394000000003</c:v>
                </c:pt>
                <c:pt idx="82">
                  <c:v>78.618296999999998</c:v>
                </c:pt>
                <c:pt idx="83">
                  <c:v>79.213194000000001</c:v>
                </c:pt>
                <c:pt idx="84">
                  <c:v>82.967348000000001</c:v>
                </c:pt>
                <c:pt idx="85">
                  <c:v>83.008100999999996</c:v>
                </c:pt>
                <c:pt idx="86">
                  <c:v>83.058628999999996</c:v>
                </c:pt>
                <c:pt idx="87">
                  <c:v>83.070186000000007</c:v>
                </c:pt>
                <c:pt idx="88">
                  <c:v>83.097825</c:v>
                </c:pt>
                <c:pt idx="89">
                  <c:v>83.144773000000001</c:v>
                </c:pt>
                <c:pt idx="90">
                  <c:v>91.045384999999996</c:v>
                </c:pt>
                <c:pt idx="91">
                  <c:v>91.029295000000005</c:v>
                </c:pt>
                <c:pt idx="92">
                  <c:v>91.251677999999998</c:v>
                </c:pt>
                <c:pt idx="93">
                  <c:v>91.137497999999994</c:v>
                </c:pt>
                <c:pt idx="94">
                  <c:v>91.140187999999995</c:v>
                </c:pt>
                <c:pt idx="95">
                  <c:v>91.183476999999996</c:v>
                </c:pt>
                <c:pt idx="96">
                  <c:v>88.489952000000002</c:v>
                </c:pt>
                <c:pt idx="97">
                  <c:v>74.042451</c:v>
                </c:pt>
                <c:pt idx="98">
                  <c:v>62.123851000000002</c:v>
                </c:pt>
                <c:pt idx="99">
                  <c:v>63.080196000000001</c:v>
                </c:pt>
                <c:pt idx="100">
                  <c:v>77.537323000000001</c:v>
                </c:pt>
                <c:pt idx="101">
                  <c:v>57.230685000000001</c:v>
                </c:pt>
                <c:pt idx="102">
                  <c:v>48.968741000000001</c:v>
                </c:pt>
                <c:pt idx="103">
                  <c:v>63.800516000000002</c:v>
                </c:pt>
                <c:pt idx="104">
                  <c:v>52.690354999999997</c:v>
                </c:pt>
                <c:pt idx="105">
                  <c:v>39.565461999999997</c:v>
                </c:pt>
                <c:pt idx="106">
                  <c:v>39.220930000000003</c:v>
                </c:pt>
                <c:pt idx="107">
                  <c:v>39.561045</c:v>
                </c:pt>
                <c:pt idx="108">
                  <c:v>37.542850999999999</c:v>
                </c:pt>
                <c:pt idx="109">
                  <c:v>38.755586000000001</c:v>
                </c:pt>
                <c:pt idx="110">
                  <c:v>40.061481000000001</c:v>
                </c:pt>
                <c:pt idx="111">
                  <c:v>41.322775</c:v>
                </c:pt>
                <c:pt idx="112">
                  <c:v>31.638933999999999</c:v>
                </c:pt>
                <c:pt idx="113">
                  <c:v>35.953412999999998</c:v>
                </c:pt>
                <c:pt idx="114">
                  <c:v>51.416103</c:v>
                </c:pt>
                <c:pt idx="115">
                  <c:v>38.840293000000003</c:v>
                </c:pt>
                <c:pt idx="116">
                  <c:v>56.735990999999999</c:v>
                </c:pt>
                <c:pt idx="117">
                  <c:v>56.452443000000002</c:v>
                </c:pt>
                <c:pt idx="118">
                  <c:v>57.550623000000002</c:v>
                </c:pt>
                <c:pt idx="119">
                  <c:v>62.646149999999999</c:v>
                </c:pt>
                <c:pt idx="120">
                  <c:v>87.738574</c:v>
                </c:pt>
                <c:pt idx="121">
                  <c:v>93.709119000000001</c:v>
                </c:pt>
                <c:pt idx="122">
                  <c:v>93.855350000000001</c:v>
                </c:pt>
                <c:pt idx="123">
                  <c:v>93.601377999999997</c:v>
                </c:pt>
                <c:pt idx="124">
                  <c:v>93.787957000000006</c:v>
                </c:pt>
                <c:pt idx="125">
                  <c:v>93.806521000000004</c:v>
                </c:pt>
                <c:pt idx="126">
                  <c:v>83.302396000000002</c:v>
                </c:pt>
                <c:pt idx="127">
                  <c:v>93.030323999999993</c:v>
                </c:pt>
                <c:pt idx="128">
                  <c:v>93.888515999999996</c:v>
                </c:pt>
                <c:pt idx="129">
                  <c:v>82.990775999999997</c:v>
                </c:pt>
                <c:pt idx="130">
                  <c:v>68.790952000000004</c:v>
                </c:pt>
                <c:pt idx="131">
                  <c:v>58.651826999999997</c:v>
                </c:pt>
                <c:pt idx="132">
                  <c:v>56.791652999999997</c:v>
                </c:pt>
                <c:pt idx="133">
                  <c:v>60.707737000000002</c:v>
                </c:pt>
                <c:pt idx="134">
                  <c:v>60.639809999999997</c:v>
                </c:pt>
                <c:pt idx="135">
                  <c:v>52.230863999999997</c:v>
                </c:pt>
                <c:pt idx="136">
                  <c:v>45.327396999999998</c:v>
                </c:pt>
                <c:pt idx="137">
                  <c:v>49.868101000000003</c:v>
                </c:pt>
                <c:pt idx="138">
                  <c:v>58.900643000000002</c:v>
                </c:pt>
                <c:pt idx="139">
                  <c:v>58.330674000000002</c:v>
                </c:pt>
                <c:pt idx="140">
                  <c:v>40.310884000000001</c:v>
                </c:pt>
                <c:pt idx="141">
                  <c:v>39.230882999999999</c:v>
                </c:pt>
                <c:pt idx="142">
                  <c:v>39.115879999999997</c:v>
                </c:pt>
                <c:pt idx="143">
                  <c:v>41.106912999999999</c:v>
                </c:pt>
                <c:pt idx="144">
                  <c:v>39.804090000000002</c:v>
                </c:pt>
                <c:pt idx="145">
                  <c:v>39.450287000000003</c:v>
                </c:pt>
                <c:pt idx="146">
                  <c:v>41.786994999999997</c:v>
                </c:pt>
                <c:pt idx="147">
                  <c:v>38.946635999999998</c:v>
                </c:pt>
                <c:pt idx="148">
                  <c:v>39.167844000000002</c:v>
                </c:pt>
                <c:pt idx="149">
                  <c:v>40.693857000000001</c:v>
                </c:pt>
                <c:pt idx="150">
                  <c:v>37.541716000000001</c:v>
                </c:pt>
                <c:pt idx="151">
                  <c:v>37.482347328244273</c:v>
                </c:pt>
                <c:pt idx="152">
                  <c:v>37.670610687022901</c:v>
                </c:pt>
                <c:pt idx="153">
                  <c:v>37.6</c:v>
                </c:pt>
                <c:pt idx="154">
                  <c:v>37.601717557251902</c:v>
                </c:pt>
                <c:pt idx="155">
                  <c:v>37.768225190839694</c:v>
                </c:pt>
                <c:pt idx="156">
                  <c:v>37.697805343511448</c:v>
                </c:pt>
                <c:pt idx="157">
                  <c:v>37.745229007633583</c:v>
                </c:pt>
                <c:pt idx="158">
                  <c:v>37.714503816793894</c:v>
                </c:pt>
                <c:pt idx="159">
                  <c:v>37.824713740458016</c:v>
                </c:pt>
                <c:pt idx="160">
                  <c:v>37.773759541984731</c:v>
                </c:pt>
                <c:pt idx="161">
                  <c:v>37.882347328244272</c:v>
                </c:pt>
                <c:pt idx="162">
                  <c:v>37.866984732824427</c:v>
                </c:pt>
                <c:pt idx="163">
                  <c:v>37.580438931297714</c:v>
                </c:pt>
                <c:pt idx="164">
                  <c:v>38.02280534351145</c:v>
                </c:pt>
                <c:pt idx="165">
                  <c:v>37.803816793893134</c:v>
                </c:pt>
                <c:pt idx="166">
                  <c:v>37.769656488549622</c:v>
                </c:pt>
                <c:pt idx="167">
                  <c:v>38.045515267175567</c:v>
                </c:pt>
                <c:pt idx="168">
                  <c:v>37.930725190839695</c:v>
                </c:pt>
                <c:pt idx="169">
                  <c:v>38.132251908396945</c:v>
                </c:pt>
                <c:pt idx="170">
                  <c:v>37.395515267175568</c:v>
                </c:pt>
                <c:pt idx="171">
                  <c:v>37.630629770992364</c:v>
                </c:pt>
                <c:pt idx="172">
                  <c:v>37.649904580152672</c:v>
                </c:pt>
                <c:pt idx="173">
                  <c:v>37.593797709923663</c:v>
                </c:pt>
                <c:pt idx="174">
                  <c:v>37.587595419847325</c:v>
                </c:pt>
                <c:pt idx="175">
                  <c:v>37.664790076335876</c:v>
                </c:pt>
                <c:pt idx="176">
                  <c:v>37.637690839694656</c:v>
                </c:pt>
                <c:pt idx="177">
                  <c:v>37.760496183206108</c:v>
                </c:pt>
                <c:pt idx="178">
                  <c:v>37.501049618320614</c:v>
                </c:pt>
                <c:pt idx="179">
                  <c:v>37.934541984732817</c:v>
                </c:pt>
                <c:pt idx="180">
                  <c:v>38.198950381679388</c:v>
                </c:pt>
                <c:pt idx="181">
                  <c:v>37.896087786259542</c:v>
                </c:pt>
                <c:pt idx="182">
                  <c:v>37.789026717557249</c:v>
                </c:pt>
                <c:pt idx="183">
                  <c:v>37.573950381679388</c:v>
                </c:pt>
                <c:pt idx="184">
                  <c:v>37.664503816793889</c:v>
                </c:pt>
                <c:pt idx="185">
                  <c:v>37.644274809160301</c:v>
                </c:pt>
                <c:pt idx="186">
                  <c:v>37.773759541984731</c:v>
                </c:pt>
                <c:pt idx="187">
                  <c:v>37.668320610687026</c:v>
                </c:pt>
                <c:pt idx="188">
                  <c:v>37.8037213740458</c:v>
                </c:pt>
                <c:pt idx="189">
                  <c:v>37.614408396946565</c:v>
                </c:pt>
                <c:pt idx="190">
                  <c:v>37.722232824427479</c:v>
                </c:pt>
                <c:pt idx="191">
                  <c:v>37.904675572519082</c:v>
                </c:pt>
                <c:pt idx="192">
                  <c:v>37.826335877862597</c:v>
                </c:pt>
                <c:pt idx="193">
                  <c:v>37.301145038167938</c:v>
                </c:pt>
                <c:pt idx="194">
                  <c:v>37.749427480916026</c:v>
                </c:pt>
                <c:pt idx="195">
                  <c:v>37.329007633587786</c:v>
                </c:pt>
                <c:pt idx="196">
                  <c:v>37.925667938931298</c:v>
                </c:pt>
                <c:pt idx="197">
                  <c:v>37.34885496183206</c:v>
                </c:pt>
                <c:pt idx="198">
                  <c:v>37.467175572519082</c:v>
                </c:pt>
                <c:pt idx="199">
                  <c:v>37.616793893129767</c:v>
                </c:pt>
                <c:pt idx="200">
                  <c:v>37.717557251908396</c:v>
                </c:pt>
                <c:pt idx="201">
                  <c:v>37.617080152671754</c:v>
                </c:pt>
                <c:pt idx="202">
                  <c:v>37.273091603053437</c:v>
                </c:pt>
                <c:pt idx="203">
                  <c:v>37.835973282442751</c:v>
                </c:pt>
                <c:pt idx="204">
                  <c:v>37.680629770992361</c:v>
                </c:pt>
                <c:pt idx="205">
                  <c:v>37.414217557251909</c:v>
                </c:pt>
                <c:pt idx="206">
                  <c:v>37.072232824427481</c:v>
                </c:pt>
                <c:pt idx="207">
                  <c:v>37.575190839694656</c:v>
                </c:pt>
                <c:pt idx="208">
                  <c:v>37.378339694656489</c:v>
                </c:pt>
                <c:pt idx="209">
                  <c:v>37.214980916030534</c:v>
                </c:pt>
                <c:pt idx="210">
                  <c:v>37.532633587786258</c:v>
                </c:pt>
                <c:pt idx="211">
                  <c:v>37.427003816793892</c:v>
                </c:pt>
                <c:pt idx="212">
                  <c:v>36.887500000000003</c:v>
                </c:pt>
                <c:pt idx="213">
                  <c:v>36.51812977099236</c:v>
                </c:pt>
                <c:pt idx="214">
                  <c:v>36.796469465648855</c:v>
                </c:pt>
                <c:pt idx="215">
                  <c:v>36.833015267175568</c:v>
                </c:pt>
                <c:pt idx="216">
                  <c:v>36.466603053435115</c:v>
                </c:pt>
                <c:pt idx="217">
                  <c:v>36.201145038167937</c:v>
                </c:pt>
                <c:pt idx="218">
                  <c:v>36.46937022900763</c:v>
                </c:pt>
                <c:pt idx="219">
                  <c:v>36.247709923664118</c:v>
                </c:pt>
                <c:pt idx="220">
                  <c:v>36.43320610687023</c:v>
                </c:pt>
                <c:pt idx="221">
                  <c:v>36.145801526717555</c:v>
                </c:pt>
                <c:pt idx="222">
                  <c:v>36.236832061068704</c:v>
                </c:pt>
                <c:pt idx="223">
                  <c:v>36.26879770992366</c:v>
                </c:pt>
                <c:pt idx="224">
                  <c:v>35.950286259541983</c:v>
                </c:pt>
                <c:pt idx="225">
                  <c:v>36.026717557251906</c:v>
                </c:pt>
                <c:pt idx="226">
                  <c:v>36.057061068702289</c:v>
                </c:pt>
                <c:pt idx="227">
                  <c:v>36.291698473282437</c:v>
                </c:pt>
                <c:pt idx="228">
                  <c:v>35.922805343511449</c:v>
                </c:pt>
                <c:pt idx="229">
                  <c:v>35.763931297709924</c:v>
                </c:pt>
                <c:pt idx="230">
                  <c:v>35.942366412213737</c:v>
                </c:pt>
                <c:pt idx="231">
                  <c:v>35.823854961832062</c:v>
                </c:pt>
                <c:pt idx="232">
                  <c:v>35.631870229007632</c:v>
                </c:pt>
                <c:pt idx="233">
                  <c:v>35.931870229007629</c:v>
                </c:pt>
                <c:pt idx="234">
                  <c:v>36.210114503816797</c:v>
                </c:pt>
                <c:pt idx="235">
                  <c:v>36.174904580152671</c:v>
                </c:pt>
                <c:pt idx="236">
                  <c:v>36.269561068702288</c:v>
                </c:pt>
                <c:pt idx="237">
                  <c:v>36.107538167938927</c:v>
                </c:pt>
                <c:pt idx="238">
                  <c:v>36.208206106870229</c:v>
                </c:pt>
                <c:pt idx="239">
                  <c:v>36.200954198473283</c:v>
                </c:pt>
                <c:pt idx="240">
                  <c:v>36.562213740458013</c:v>
                </c:pt>
                <c:pt idx="241">
                  <c:v>36.944179389312978</c:v>
                </c:pt>
                <c:pt idx="242">
                  <c:v>36.678435114503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9B-4B80-A895-FF4F8C6948E7}"/>
            </c:ext>
          </c:extLst>
        </c:ser>
        <c:ser>
          <c:idx val="2"/>
          <c:order val="2"/>
          <c:tx>
            <c:strRef>
              <c:f>Hárok1!$CH$4</c:f>
              <c:strCache>
                <c:ptCount val="1"/>
                <c:pt idx="0">
                  <c:v>Beregov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H$5:$CH$247</c:f>
              <c:numCache>
                <c:formatCode>_(* #,##0_);_(* \(#,##0\);_(* "-"??_);_(@_)</c:formatCode>
                <c:ptCount val="243"/>
                <c:pt idx="0">
                  <c:v>3.5273854961832058</c:v>
                </c:pt>
                <c:pt idx="1">
                  <c:v>3.5273854961832058</c:v>
                </c:pt>
                <c:pt idx="2">
                  <c:v>3.5273854961832058</c:v>
                </c:pt>
                <c:pt idx="3">
                  <c:v>3.1426526717557253</c:v>
                </c:pt>
                <c:pt idx="4">
                  <c:v>3.1426526717557253</c:v>
                </c:pt>
                <c:pt idx="5">
                  <c:v>3.5273854961832058</c:v>
                </c:pt>
                <c:pt idx="6">
                  <c:v>4.2048664122137405</c:v>
                </c:pt>
                <c:pt idx="7">
                  <c:v>3.2525763358778628</c:v>
                </c:pt>
                <c:pt idx="8">
                  <c:v>3.2525763358778628</c:v>
                </c:pt>
                <c:pt idx="9">
                  <c:v>4.1220419847328245</c:v>
                </c:pt>
                <c:pt idx="10">
                  <c:v>3.509064885496183</c:v>
                </c:pt>
                <c:pt idx="11">
                  <c:v>6.5823473282442748</c:v>
                </c:pt>
                <c:pt idx="12">
                  <c:v>6.6533396946564887</c:v>
                </c:pt>
                <c:pt idx="13">
                  <c:v>5.1121183206106871</c:v>
                </c:pt>
                <c:pt idx="14">
                  <c:v>4.8556297709923664</c:v>
                </c:pt>
                <c:pt idx="15">
                  <c:v>4.8556297709923664</c:v>
                </c:pt>
                <c:pt idx="16">
                  <c:v>5.1121183206106871</c:v>
                </c:pt>
                <c:pt idx="17">
                  <c:v>5.341125954198473</c:v>
                </c:pt>
                <c:pt idx="18">
                  <c:v>4.6495229007633583</c:v>
                </c:pt>
                <c:pt idx="19">
                  <c:v>4.9426526717557246</c:v>
                </c:pt>
                <c:pt idx="20">
                  <c:v>5.1121183206106871</c:v>
                </c:pt>
                <c:pt idx="21">
                  <c:v>4.3976145038167944</c:v>
                </c:pt>
                <c:pt idx="22">
                  <c:v>4.3976145038167944</c:v>
                </c:pt>
                <c:pt idx="23">
                  <c:v>4.8804389312977099</c:v>
                </c:pt>
                <c:pt idx="24">
                  <c:v>6.5944656488549613</c:v>
                </c:pt>
                <c:pt idx="25">
                  <c:v>13.694847328244274</c:v>
                </c:pt>
                <c:pt idx="26">
                  <c:v>8.1551526717557241</c:v>
                </c:pt>
                <c:pt idx="27">
                  <c:v>6.224618320610686</c:v>
                </c:pt>
                <c:pt idx="28">
                  <c:v>6.0070610687022903</c:v>
                </c:pt>
                <c:pt idx="29">
                  <c:v>6.0070610687022903</c:v>
                </c:pt>
                <c:pt idx="30">
                  <c:v>6.9660305343511455</c:v>
                </c:pt>
                <c:pt idx="31">
                  <c:v>2.0380725190839697</c:v>
                </c:pt>
                <c:pt idx="32">
                  <c:v>0.8541030534351145</c:v>
                </c:pt>
                <c:pt idx="33">
                  <c:v>0.94875954198473278</c:v>
                </c:pt>
                <c:pt idx="34">
                  <c:v>1.2121183206106869</c:v>
                </c:pt>
                <c:pt idx="35">
                  <c:v>0.70830152671755719</c:v>
                </c:pt>
                <c:pt idx="36">
                  <c:v>0.70830152671755719</c:v>
                </c:pt>
                <c:pt idx="37">
                  <c:v>0.70830152671755719</c:v>
                </c:pt>
                <c:pt idx="38">
                  <c:v>0.65400763358778624</c:v>
                </c:pt>
                <c:pt idx="39">
                  <c:v>0.70830152671755719</c:v>
                </c:pt>
                <c:pt idx="40">
                  <c:v>0.94875954198473278</c:v>
                </c:pt>
                <c:pt idx="41">
                  <c:v>0.94875954198473278</c:v>
                </c:pt>
                <c:pt idx="42">
                  <c:v>0.70830152671755719</c:v>
                </c:pt>
                <c:pt idx="43">
                  <c:v>0.70830152671755719</c:v>
                </c:pt>
                <c:pt idx="44">
                  <c:v>0.70830152671755719</c:v>
                </c:pt>
                <c:pt idx="45">
                  <c:v>0.70830152671755719</c:v>
                </c:pt>
                <c:pt idx="46">
                  <c:v>0.94875954198473278</c:v>
                </c:pt>
                <c:pt idx="47">
                  <c:v>0.94875954198473278</c:v>
                </c:pt>
                <c:pt idx="48">
                  <c:v>0.94875954198473278</c:v>
                </c:pt>
                <c:pt idx="49">
                  <c:v>0.94875954198473278</c:v>
                </c:pt>
                <c:pt idx="50">
                  <c:v>0.94875954198473278</c:v>
                </c:pt>
                <c:pt idx="51">
                  <c:v>0.83272900763358781</c:v>
                </c:pt>
                <c:pt idx="52">
                  <c:v>0.70830152671755719</c:v>
                </c:pt>
                <c:pt idx="53">
                  <c:v>2.4144083969465648</c:v>
                </c:pt>
                <c:pt idx="54">
                  <c:v>2.8425572519083966</c:v>
                </c:pt>
                <c:pt idx="55">
                  <c:v>9.1054389312977086</c:v>
                </c:pt>
                <c:pt idx="56">
                  <c:v>14.89723282442748</c:v>
                </c:pt>
                <c:pt idx="57">
                  <c:v>14.163167938931299</c:v>
                </c:pt>
                <c:pt idx="58">
                  <c:v>10.751908396946565</c:v>
                </c:pt>
                <c:pt idx="59">
                  <c:v>0.55648854961832062</c:v>
                </c:pt>
                <c:pt idx="60">
                  <c:v>1.8709923664122137</c:v>
                </c:pt>
                <c:pt idx="61">
                  <c:v>0.55648854961832062</c:v>
                </c:pt>
                <c:pt idx="62">
                  <c:v>0.32061068702290074</c:v>
                </c:pt>
                <c:pt idx="63">
                  <c:v>0.32061068702290074</c:v>
                </c:pt>
                <c:pt idx="64">
                  <c:v>0.32061068702290074</c:v>
                </c:pt>
                <c:pt idx="65">
                  <c:v>0.32061068702290074</c:v>
                </c:pt>
                <c:pt idx="66">
                  <c:v>0.32061068702290074</c:v>
                </c:pt>
                <c:pt idx="67">
                  <c:v>0.32061068702290074</c:v>
                </c:pt>
                <c:pt idx="68">
                  <c:v>0.32061068702290074</c:v>
                </c:pt>
                <c:pt idx="69">
                  <c:v>0.32061068702290074</c:v>
                </c:pt>
                <c:pt idx="70">
                  <c:v>0.32061068702290074</c:v>
                </c:pt>
                <c:pt idx="71">
                  <c:v>0.32061068702290074</c:v>
                </c:pt>
                <c:pt idx="72">
                  <c:v>0.32061068702290074</c:v>
                </c:pt>
                <c:pt idx="73">
                  <c:v>0.32061068702290074</c:v>
                </c:pt>
                <c:pt idx="74">
                  <c:v>0.32061068702290074</c:v>
                </c:pt>
                <c:pt idx="75">
                  <c:v>0.32061068702290074</c:v>
                </c:pt>
                <c:pt idx="76">
                  <c:v>0.32061068702290074</c:v>
                </c:pt>
                <c:pt idx="77">
                  <c:v>0.11450381679389313</c:v>
                </c:pt>
                <c:pt idx="78">
                  <c:v>0.11450381679389313</c:v>
                </c:pt>
                <c:pt idx="79">
                  <c:v>0.11450381679389313</c:v>
                </c:pt>
                <c:pt idx="80">
                  <c:v>0.11450381679389313</c:v>
                </c:pt>
                <c:pt idx="81">
                  <c:v>0.11450381679389313</c:v>
                </c:pt>
                <c:pt idx="82">
                  <c:v>0.11450381679389313</c:v>
                </c:pt>
                <c:pt idx="83">
                  <c:v>0.11450381679389313</c:v>
                </c:pt>
                <c:pt idx="84">
                  <c:v>0.1097328244274809</c:v>
                </c:pt>
                <c:pt idx="85">
                  <c:v>0.11450381679389313</c:v>
                </c:pt>
                <c:pt idx="86">
                  <c:v>0.11450381679389313</c:v>
                </c:pt>
                <c:pt idx="87">
                  <c:v>0.11450381679389313</c:v>
                </c:pt>
                <c:pt idx="88">
                  <c:v>0.11450381679389313</c:v>
                </c:pt>
                <c:pt idx="89">
                  <c:v>0.11450381679389313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.28416030534351144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4.1221374045801527E-2</c:v>
                </c:pt>
                <c:pt idx="116">
                  <c:v>0</c:v>
                </c:pt>
                <c:pt idx="117">
                  <c:v>0.11011450381679388</c:v>
                </c:pt>
                <c:pt idx="118">
                  <c:v>0.4293893129770992</c:v>
                </c:pt>
                <c:pt idx="119">
                  <c:v>0</c:v>
                </c:pt>
                <c:pt idx="120">
                  <c:v>0.11450381679389313</c:v>
                </c:pt>
                <c:pt idx="121">
                  <c:v>0.11450381679389313</c:v>
                </c:pt>
                <c:pt idx="122">
                  <c:v>0.11450381679389313</c:v>
                </c:pt>
                <c:pt idx="123">
                  <c:v>0.11450381679389313</c:v>
                </c:pt>
                <c:pt idx="124">
                  <c:v>0.11450381679389313</c:v>
                </c:pt>
                <c:pt idx="125">
                  <c:v>0.11450381679389313</c:v>
                </c:pt>
                <c:pt idx="126">
                  <c:v>0.11450381679389313</c:v>
                </c:pt>
                <c:pt idx="127">
                  <c:v>0.11450381679389313</c:v>
                </c:pt>
                <c:pt idx="128">
                  <c:v>0.11450381679389313</c:v>
                </c:pt>
                <c:pt idx="129">
                  <c:v>0.11450381679389313</c:v>
                </c:pt>
                <c:pt idx="130">
                  <c:v>0.11450381679389313</c:v>
                </c:pt>
                <c:pt idx="131">
                  <c:v>0.11450381679389313</c:v>
                </c:pt>
                <c:pt idx="132">
                  <c:v>0.73282442748091592</c:v>
                </c:pt>
                <c:pt idx="133">
                  <c:v>1.2595419847328244</c:v>
                </c:pt>
                <c:pt idx="134">
                  <c:v>1.2595419847328244</c:v>
                </c:pt>
                <c:pt idx="135">
                  <c:v>0.11450381679389313</c:v>
                </c:pt>
                <c:pt idx="136">
                  <c:v>0.11450381679389313</c:v>
                </c:pt>
                <c:pt idx="137">
                  <c:v>0.11450381679389313</c:v>
                </c:pt>
                <c:pt idx="138">
                  <c:v>0.32061068702290074</c:v>
                </c:pt>
                <c:pt idx="139">
                  <c:v>0.9</c:v>
                </c:pt>
                <c:pt idx="140">
                  <c:v>0.5725190839694656</c:v>
                </c:pt>
                <c:pt idx="141">
                  <c:v>0.5725190839694656</c:v>
                </c:pt>
                <c:pt idx="142">
                  <c:v>0.11450381679389313</c:v>
                </c:pt>
                <c:pt idx="143">
                  <c:v>0.67099236641221371</c:v>
                </c:pt>
                <c:pt idx="144">
                  <c:v>1.4587786259541984</c:v>
                </c:pt>
                <c:pt idx="145">
                  <c:v>1.7175572519083968</c:v>
                </c:pt>
                <c:pt idx="146">
                  <c:v>1.7175572519083968</c:v>
                </c:pt>
                <c:pt idx="147">
                  <c:v>2.1297709923664123</c:v>
                </c:pt>
                <c:pt idx="148">
                  <c:v>2.1297709923664123</c:v>
                </c:pt>
                <c:pt idx="149">
                  <c:v>0.63206106870229006</c:v>
                </c:pt>
                <c:pt idx="150">
                  <c:v>1.4587786259541984</c:v>
                </c:pt>
                <c:pt idx="151">
                  <c:v>0.76717557251908386</c:v>
                </c:pt>
                <c:pt idx="152">
                  <c:v>2.5076335877862594</c:v>
                </c:pt>
                <c:pt idx="153">
                  <c:v>1.5664122137404579</c:v>
                </c:pt>
                <c:pt idx="154">
                  <c:v>1.8503816793893129</c:v>
                </c:pt>
                <c:pt idx="155">
                  <c:v>1.781679389312977</c:v>
                </c:pt>
                <c:pt idx="156">
                  <c:v>1.2687022900763358</c:v>
                </c:pt>
                <c:pt idx="157">
                  <c:v>0.84045801526717556</c:v>
                </c:pt>
                <c:pt idx="158">
                  <c:v>3.3091603053435112</c:v>
                </c:pt>
                <c:pt idx="159">
                  <c:v>3.759828244274809</c:v>
                </c:pt>
                <c:pt idx="160">
                  <c:v>1.7083969465648854</c:v>
                </c:pt>
                <c:pt idx="161">
                  <c:v>2.3038167938931293</c:v>
                </c:pt>
                <c:pt idx="162">
                  <c:v>2.3038167938931293</c:v>
                </c:pt>
                <c:pt idx="163">
                  <c:v>1.946564885496183</c:v>
                </c:pt>
                <c:pt idx="164">
                  <c:v>2.4412213740458015</c:v>
                </c:pt>
                <c:pt idx="165">
                  <c:v>1.5709923664122136</c:v>
                </c:pt>
                <c:pt idx="166">
                  <c:v>1.6034351145038166</c:v>
                </c:pt>
                <c:pt idx="167">
                  <c:v>1.4795801526717556</c:v>
                </c:pt>
                <c:pt idx="168">
                  <c:v>0.76717557251908386</c:v>
                </c:pt>
                <c:pt idx="169">
                  <c:v>0.76717557251908386</c:v>
                </c:pt>
                <c:pt idx="170">
                  <c:v>0.91145038167938919</c:v>
                </c:pt>
                <c:pt idx="171">
                  <c:v>2.2396946564885498</c:v>
                </c:pt>
                <c:pt idx="172">
                  <c:v>1.3396946564885495</c:v>
                </c:pt>
                <c:pt idx="173">
                  <c:v>1.9030534351145036</c:v>
                </c:pt>
                <c:pt idx="174">
                  <c:v>1.8160305343511449</c:v>
                </c:pt>
                <c:pt idx="175">
                  <c:v>1.6809160305343511</c:v>
                </c:pt>
                <c:pt idx="176">
                  <c:v>1.7404580152671754</c:v>
                </c:pt>
                <c:pt idx="177">
                  <c:v>2.3828244274809163</c:v>
                </c:pt>
                <c:pt idx="178">
                  <c:v>1.4198473282442747</c:v>
                </c:pt>
                <c:pt idx="179">
                  <c:v>2.1549618320610686</c:v>
                </c:pt>
                <c:pt idx="180">
                  <c:v>2.782442748091603</c:v>
                </c:pt>
                <c:pt idx="181">
                  <c:v>2.1755725190839694</c:v>
                </c:pt>
                <c:pt idx="182">
                  <c:v>1.9076335877862596</c:v>
                </c:pt>
                <c:pt idx="183">
                  <c:v>1.9076335877862596</c:v>
                </c:pt>
                <c:pt idx="184">
                  <c:v>2.1595419847328245</c:v>
                </c:pt>
                <c:pt idx="185">
                  <c:v>1.6396946564885497</c:v>
                </c:pt>
                <c:pt idx="186">
                  <c:v>1.9694656488549618</c:v>
                </c:pt>
                <c:pt idx="187">
                  <c:v>1.4702290076335878</c:v>
                </c:pt>
                <c:pt idx="188">
                  <c:v>1.3786259541984733</c:v>
                </c:pt>
                <c:pt idx="189">
                  <c:v>1.0419847328244274</c:v>
                </c:pt>
                <c:pt idx="190">
                  <c:v>1.0419847328244274</c:v>
                </c:pt>
                <c:pt idx="191">
                  <c:v>1.1908396946564885</c:v>
                </c:pt>
                <c:pt idx="192">
                  <c:v>1.4038167938931296</c:v>
                </c:pt>
                <c:pt idx="193">
                  <c:v>1.6030534351145038</c:v>
                </c:pt>
                <c:pt idx="194">
                  <c:v>1.6167938931297707</c:v>
                </c:pt>
                <c:pt idx="195">
                  <c:v>1.364885496183206</c:v>
                </c:pt>
                <c:pt idx="196">
                  <c:v>1.3053435114503815</c:v>
                </c:pt>
                <c:pt idx="197">
                  <c:v>1.3053435114503815</c:v>
                </c:pt>
                <c:pt idx="198">
                  <c:v>1.3167938931297709</c:v>
                </c:pt>
                <c:pt idx="199">
                  <c:v>2.7229007633587785</c:v>
                </c:pt>
                <c:pt idx="200">
                  <c:v>1.7748091603053435</c:v>
                </c:pt>
                <c:pt idx="201">
                  <c:v>3.0893129770992362</c:v>
                </c:pt>
                <c:pt idx="202">
                  <c:v>1.5526717557251906</c:v>
                </c:pt>
                <c:pt idx="203">
                  <c:v>0.96183206106870223</c:v>
                </c:pt>
                <c:pt idx="204">
                  <c:v>0.96183206106870223</c:v>
                </c:pt>
                <c:pt idx="205">
                  <c:v>0.96183206106870223</c:v>
                </c:pt>
                <c:pt idx="206">
                  <c:v>1.1908396946564885</c:v>
                </c:pt>
                <c:pt idx="207">
                  <c:v>1.8</c:v>
                </c:pt>
                <c:pt idx="208">
                  <c:v>1.6236641221374044</c:v>
                </c:pt>
                <c:pt idx="209">
                  <c:v>0.57480916030534346</c:v>
                </c:pt>
                <c:pt idx="210">
                  <c:v>0.85333969465648851</c:v>
                </c:pt>
                <c:pt idx="211">
                  <c:v>0.84732824427480924</c:v>
                </c:pt>
                <c:pt idx="212">
                  <c:v>0.70763358778625951</c:v>
                </c:pt>
                <c:pt idx="213">
                  <c:v>1.7567748091603055</c:v>
                </c:pt>
                <c:pt idx="214">
                  <c:v>1.2618320610687022</c:v>
                </c:pt>
                <c:pt idx="215">
                  <c:v>1.1267175572519084</c:v>
                </c:pt>
                <c:pt idx="216">
                  <c:v>1.4519083969465647</c:v>
                </c:pt>
                <c:pt idx="217">
                  <c:v>0.54961832061068694</c:v>
                </c:pt>
                <c:pt idx="218">
                  <c:v>0.54961832061068694</c:v>
                </c:pt>
                <c:pt idx="219">
                  <c:v>0.54961832061068694</c:v>
                </c:pt>
                <c:pt idx="220">
                  <c:v>1.0511450381679388</c:v>
                </c:pt>
                <c:pt idx="221">
                  <c:v>0.54961832061068694</c:v>
                </c:pt>
                <c:pt idx="222">
                  <c:v>0.65038167938931291</c:v>
                </c:pt>
                <c:pt idx="223">
                  <c:v>0.54961832061068694</c:v>
                </c:pt>
                <c:pt idx="224">
                  <c:v>0.54961832061068694</c:v>
                </c:pt>
                <c:pt idx="225">
                  <c:v>0.54961832061068694</c:v>
                </c:pt>
                <c:pt idx="226">
                  <c:v>0.54961832061068694</c:v>
                </c:pt>
                <c:pt idx="227">
                  <c:v>0.60458015267175569</c:v>
                </c:pt>
                <c:pt idx="228">
                  <c:v>0.64580152671755719</c:v>
                </c:pt>
                <c:pt idx="229">
                  <c:v>0.59770992366412212</c:v>
                </c:pt>
                <c:pt idx="230">
                  <c:v>0.55190839694656479</c:v>
                </c:pt>
                <c:pt idx="231">
                  <c:v>0.54961832061068694</c:v>
                </c:pt>
                <c:pt idx="232">
                  <c:v>0.54961832061068694</c:v>
                </c:pt>
                <c:pt idx="233">
                  <c:v>0.66183206106870229</c:v>
                </c:pt>
                <c:pt idx="234">
                  <c:v>0.59083969465648856</c:v>
                </c:pt>
                <c:pt idx="235">
                  <c:v>0.54961832061068694</c:v>
                </c:pt>
                <c:pt idx="236">
                  <c:v>0.75572519083969458</c:v>
                </c:pt>
                <c:pt idx="237">
                  <c:v>0.71183206106870223</c:v>
                </c:pt>
                <c:pt idx="238">
                  <c:v>0.56488549618320605</c:v>
                </c:pt>
                <c:pt idx="239">
                  <c:v>0.54961832061068694</c:v>
                </c:pt>
                <c:pt idx="240">
                  <c:v>0.73282442748091592</c:v>
                </c:pt>
                <c:pt idx="241">
                  <c:v>0.54961832061068694</c:v>
                </c:pt>
                <c:pt idx="242">
                  <c:v>0.82442748091603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B-4B80-A895-FF4F8C6948E7}"/>
            </c:ext>
          </c:extLst>
        </c:ser>
        <c:ser>
          <c:idx val="3"/>
          <c:order val="3"/>
          <c:tx>
            <c:strRef>
              <c:f>Hárok1!$CI$4</c:f>
              <c:strCache>
                <c:ptCount val="1"/>
                <c:pt idx="0">
                  <c:v>TS1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I$5:$CI$247</c:f>
              <c:numCache>
                <c:formatCode>_(* #,##0_);_(* \(#,##0\);_(* "-"??_);_(@_)</c:formatCode>
                <c:ptCount val="243"/>
                <c:pt idx="0">
                  <c:v>58.818702400743334</c:v>
                </c:pt>
                <c:pt idx="1">
                  <c:v>58.818702400743334</c:v>
                </c:pt>
                <c:pt idx="2">
                  <c:v>58.818702400743334</c:v>
                </c:pt>
                <c:pt idx="3">
                  <c:v>58.818702400743334</c:v>
                </c:pt>
                <c:pt idx="4">
                  <c:v>58.818702400743334</c:v>
                </c:pt>
                <c:pt idx="5">
                  <c:v>58.818702400743334</c:v>
                </c:pt>
                <c:pt idx="6">
                  <c:v>58.818702400743334</c:v>
                </c:pt>
                <c:pt idx="7">
                  <c:v>58.818702400743334</c:v>
                </c:pt>
                <c:pt idx="8">
                  <c:v>58.818702400743334</c:v>
                </c:pt>
                <c:pt idx="9">
                  <c:v>58.818702400743334</c:v>
                </c:pt>
                <c:pt idx="10">
                  <c:v>58.818702400743334</c:v>
                </c:pt>
                <c:pt idx="11">
                  <c:v>58.818702400743334</c:v>
                </c:pt>
                <c:pt idx="12">
                  <c:v>58.818702400743334</c:v>
                </c:pt>
                <c:pt idx="13">
                  <c:v>58.818702400743334</c:v>
                </c:pt>
                <c:pt idx="14">
                  <c:v>58.818702400743334</c:v>
                </c:pt>
                <c:pt idx="15">
                  <c:v>58.818702400743334</c:v>
                </c:pt>
                <c:pt idx="16">
                  <c:v>58.818702400743334</c:v>
                </c:pt>
                <c:pt idx="17">
                  <c:v>58.818702400743334</c:v>
                </c:pt>
                <c:pt idx="18">
                  <c:v>58.818702400743334</c:v>
                </c:pt>
                <c:pt idx="19">
                  <c:v>58.818702400743334</c:v>
                </c:pt>
                <c:pt idx="20">
                  <c:v>58.818702400743334</c:v>
                </c:pt>
                <c:pt idx="21">
                  <c:v>58.818702400743334</c:v>
                </c:pt>
                <c:pt idx="22">
                  <c:v>58.818702400743334</c:v>
                </c:pt>
                <c:pt idx="23">
                  <c:v>58.818702400743334</c:v>
                </c:pt>
                <c:pt idx="24">
                  <c:v>58.818702400743334</c:v>
                </c:pt>
                <c:pt idx="25">
                  <c:v>58.818702400743334</c:v>
                </c:pt>
                <c:pt idx="26">
                  <c:v>58.818702400743334</c:v>
                </c:pt>
                <c:pt idx="27">
                  <c:v>58.818702400743334</c:v>
                </c:pt>
                <c:pt idx="28">
                  <c:v>58.818702400743334</c:v>
                </c:pt>
                <c:pt idx="29">
                  <c:v>58.818702400743334</c:v>
                </c:pt>
                <c:pt idx="30">
                  <c:v>58.818702400743334</c:v>
                </c:pt>
                <c:pt idx="31">
                  <c:v>58.664153962469939</c:v>
                </c:pt>
                <c:pt idx="32">
                  <c:v>58.664153962469939</c:v>
                </c:pt>
                <c:pt idx="33">
                  <c:v>58.664153962469939</c:v>
                </c:pt>
                <c:pt idx="34">
                  <c:v>58.664153962469939</c:v>
                </c:pt>
                <c:pt idx="35">
                  <c:v>58.664153962469939</c:v>
                </c:pt>
                <c:pt idx="36">
                  <c:v>58.664153962469939</c:v>
                </c:pt>
                <c:pt idx="37">
                  <c:v>58.664153962469939</c:v>
                </c:pt>
                <c:pt idx="38">
                  <c:v>58.664153962469939</c:v>
                </c:pt>
                <c:pt idx="39">
                  <c:v>58.664153962469939</c:v>
                </c:pt>
                <c:pt idx="40">
                  <c:v>58.664153962469939</c:v>
                </c:pt>
                <c:pt idx="41">
                  <c:v>58.664153962469939</c:v>
                </c:pt>
                <c:pt idx="42">
                  <c:v>58.664153962469939</c:v>
                </c:pt>
                <c:pt idx="43">
                  <c:v>58.664153962469939</c:v>
                </c:pt>
                <c:pt idx="44">
                  <c:v>58.664153962469939</c:v>
                </c:pt>
                <c:pt idx="45">
                  <c:v>57.664058542622612</c:v>
                </c:pt>
                <c:pt idx="46">
                  <c:v>57.667875336515742</c:v>
                </c:pt>
                <c:pt idx="47">
                  <c:v>57.665394420485207</c:v>
                </c:pt>
                <c:pt idx="48">
                  <c:v>57.66510816094322</c:v>
                </c:pt>
                <c:pt idx="49">
                  <c:v>57.668638695294369</c:v>
                </c:pt>
                <c:pt idx="50">
                  <c:v>57.664917321248566</c:v>
                </c:pt>
                <c:pt idx="51">
                  <c:v>57.665680680027194</c:v>
                </c:pt>
                <c:pt idx="52">
                  <c:v>57.666634878500474</c:v>
                </c:pt>
                <c:pt idx="53">
                  <c:v>57.666730298347801</c:v>
                </c:pt>
                <c:pt idx="54">
                  <c:v>57.666444038805814</c:v>
                </c:pt>
                <c:pt idx="55">
                  <c:v>57.666921138042461</c:v>
                </c:pt>
                <c:pt idx="56">
                  <c:v>57.66577609987452</c:v>
                </c:pt>
                <c:pt idx="57">
                  <c:v>57.667684496821082</c:v>
                </c:pt>
                <c:pt idx="58">
                  <c:v>57.666539458653148</c:v>
                </c:pt>
                <c:pt idx="59">
                  <c:v>62.667175140746849</c:v>
                </c:pt>
                <c:pt idx="60">
                  <c:v>62.668033919372803</c:v>
                </c:pt>
                <c:pt idx="61">
                  <c:v>62.667461400288836</c:v>
                </c:pt>
                <c:pt idx="62">
                  <c:v>61.671946133113266</c:v>
                </c:pt>
                <c:pt idx="63">
                  <c:v>61.671087354487312</c:v>
                </c:pt>
                <c:pt idx="64">
                  <c:v>61.671278194181966</c:v>
                </c:pt>
                <c:pt idx="65">
                  <c:v>62.667175140746849</c:v>
                </c:pt>
                <c:pt idx="66">
                  <c:v>62.668606438456777</c:v>
                </c:pt>
                <c:pt idx="67">
                  <c:v>62.668415598762117</c:v>
                </c:pt>
                <c:pt idx="68">
                  <c:v>62.66832017891479</c:v>
                </c:pt>
                <c:pt idx="69">
                  <c:v>62.240975576951868</c:v>
                </c:pt>
                <c:pt idx="70">
                  <c:v>62.322265497500233</c:v>
                </c:pt>
                <c:pt idx="71">
                  <c:v>62.415290946502083</c:v>
                </c:pt>
                <c:pt idx="72">
                  <c:v>62.668415598762117</c:v>
                </c:pt>
                <c:pt idx="73">
                  <c:v>62.668415598762117</c:v>
                </c:pt>
                <c:pt idx="74">
                  <c:v>62.667652239983489</c:v>
                </c:pt>
                <c:pt idx="75">
                  <c:v>62.661545369754485</c:v>
                </c:pt>
                <c:pt idx="76">
                  <c:v>62.668606438456777</c:v>
                </c:pt>
                <c:pt idx="77">
                  <c:v>62.669083537693417</c:v>
                </c:pt>
                <c:pt idx="78">
                  <c:v>62.669083537693417</c:v>
                </c:pt>
                <c:pt idx="79">
                  <c:v>62.668701858304104</c:v>
                </c:pt>
                <c:pt idx="80">
                  <c:v>62.668701858304104</c:v>
                </c:pt>
                <c:pt idx="81">
                  <c:v>62.66736598044151</c:v>
                </c:pt>
                <c:pt idx="82">
                  <c:v>62.66832017891479</c:v>
                </c:pt>
                <c:pt idx="83">
                  <c:v>62.668988117846091</c:v>
                </c:pt>
                <c:pt idx="84">
                  <c:v>62.668606438456777</c:v>
                </c:pt>
                <c:pt idx="85">
                  <c:v>62.67709880486899</c:v>
                </c:pt>
                <c:pt idx="86">
                  <c:v>62.674713308685781</c:v>
                </c:pt>
                <c:pt idx="87">
                  <c:v>62.673186591128527</c:v>
                </c:pt>
                <c:pt idx="88">
                  <c:v>62.66736598044151</c:v>
                </c:pt>
                <c:pt idx="89">
                  <c:v>62.680533919372806</c:v>
                </c:pt>
                <c:pt idx="90">
                  <c:v>39.071067268205219</c:v>
                </c:pt>
                <c:pt idx="91">
                  <c:v>39.071067268205219</c:v>
                </c:pt>
                <c:pt idx="92">
                  <c:v>39.071067268205219</c:v>
                </c:pt>
                <c:pt idx="93">
                  <c:v>39.071067268205219</c:v>
                </c:pt>
                <c:pt idx="94">
                  <c:v>39.071067268205219</c:v>
                </c:pt>
                <c:pt idx="95">
                  <c:v>39.071067268205219</c:v>
                </c:pt>
                <c:pt idx="96">
                  <c:v>39.071067268205219</c:v>
                </c:pt>
                <c:pt idx="97">
                  <c:v>39.071067268205219</c:v>
                </c:pt>
                <c:pt idx="98">
                  <c:v>39.071067268205219</c:v>
                </c:pt>
                <c:pt idx="99">
                  <c:v>39.071067268205219</c:v>
                </c:pt>
                <c:pt idx="100">
                  <c:v>39.071067268205219</c:v>
                </c:pt>
                <c:pt idx="101">
                  <c:v>39.071067268205219</c:v>
                </c:pt>
                <c:pt idx="102">
                  <c:v>39.071067268205219</c:v>
                </c:pt>
                <c:pt idx="103">
                  <c:v>39.071067268205219</c:v>
                </c:pt>
                <c:pt idx="104">
                  <c:v>39.071067268205219</c:v>
                </c:pt>
                <c:pt idx="105">
                  <c:v>39.071067268205219</c:v>
                </c:pt>
                <c:pt idx="106">
                  <c:v>39.071067268205219</c:v>
                </c:pt>
                <c:pt idx="107">
                  <c:v>39.071067268205219</c:v>
                </c:pt>
                <c:pt idx="108">
                  <c:v>39.071067268205219</c:v>
                </c:pt>
                <c:pt idx="109">
                  <c:v>39.071067268205219</c:v>
                </c:pt>
                <c:pt idx="110">
                  <c:v>39.071067268205219</c:v>
                </c:pt>
                <c:pt idx="111">
                  <c:v>39.071067268205219</c:v>
                </c:pt>
                <c:pt idx="112">
                  <c:v>39.071067268205219</c:v>
                </c:pt>
                <c:pt idx="113">
                  <c:v>39.071067268205219</c:v>
                </c:pt>
                <c:pt idx="114">
                  <c:v>39.071067268205219</c:v>
                </c:pt>
                <c:pt idx="115">
                  <c:v>39.071067268205219</c:v>
                </c:pt>
                <c:pt idx="116">
                  <c:v>39.071067268205219</c:v>
                </c:pt>
                <c:pt idx="117">
                  <c:v>39.071067268205219</c:v>
                </c:pt>
                <c:pt idx="118">
                  <c:v>39.071067268205219</c:v>
                </c:pt>
                <c:pt idx="119">
                  <c:v>39.071067268205219</c:v>
                </c:pt>
                <c:pt idx="120">
                  <c:v>25.437083620202291</c:v>
                </c:pt>
                <c:pt idx="121">
                  <c:v>25.437083620202291</c:v>
                </c:pt>
                <c:pt idx="122">
                  <c:v>25.437083620202291</c:v>
                </c:pt>
                <c:pt idx="123">
                  <c:v>25.437083620202291</c:v>
                </c:pt>
                <c:pt idx="124">
                  <c:v>25.437083620202291</c:v>
                </c:pt>
                <c:pt idx="125">
                  <c:v>25.437083620202291</c:v>
                </c:pt>
                <c:pt idx="126">
                  <c:v>25.437083620202291</c:v>
                </c:pt>
                <c:pt idx="127">
                  <c:v>25.437083620202291</c:v>
                </c:pt>
                <c:pt idx="128">
                  <c:v>25.437083620202291</c:v>
                </c:pt>
                <c:pt idx="129">
                  <c:v>25.437083620202291</c:v>
                </c:pt>
                <c:pt idx="130">
                  <c:v>25.437083620202291</c:v>
                </c:pt>
                <c:pt idx="131">
                  <c:v>25.437083620202291</c:v>
                </c:pt>
                <c:pt idx="132">
                  <c:v>25.437083620202291</c:v>
                </c:pt>
                <c:pt idx="133">
                  <c:v>25.437083620202291</c:v>
                </c:pt>
                <c:pt idx="134">
                  <c:v>25.437083620202291</c:v>
                </c:pt>
                <c:pt idx="135">
                  <c:v>25.437083620202291</c:v>
                </c:pt>
                <c:pt idx="136">
                  <c:v>25.437083620202291</c:v>
                </c:pt>
                <c:pt idx="137">
                  <c:v>25.437083620202291</c:v>
                </c:pt>
                <c:pt idx="138">
                  <c:v>25.437083620202291</c:v>
                </c:pt>
                <c:pt idx="139">
                  <c:v>25.437083620202291</c:v>
                </c:pt>
                <c:pt idx="140">
                  <c:v>25.437083620202291</c:v>
                </c:pt>
                <c:pt idx="141">
                  <c:v>25.437083620202291</c:v>
                </c:pt>
                <c:pt idx="142">
                  <c:v>24.423629421729007</c:v>
                </c:pt>
                <c:pt idx="143">
                  <c:v>24.434793543866412</c:v>
                </c:pt>
                <c:pt idx="144">
                  <c:v>24.457598887377863</c:v>
                </c:pt>
                <c:pt idx="145">
                  <c:v>24.440137055316793</c:v>
                </c:pt>
                <c:pt idx="146">
                  <c:v>24.440137055316793</c:v>
                </c:pt>
                <c:pt idx="147">
                  <c:v>24.724351886287351</c:v>
                </c:pt>
                <c:pt idx="148">
                  <c:v>24.622533067156645</c:v>
                </c:pt>
                <c:pt idx="149">
                  <c:v>24.438324078217558</c:v>
                </c:pt>
                <c:pt idx="150">
                  <c:v>24.438610337759542</c:v>
                </c:pt>
                <c:pt idx="151">
                  <c:v>38.078931499930022</c:v>
                </c:pt>
                <c:pt idx="152">
                  <c:v>38.079026919777348</c:v>
                </c:pt>
                <c:pt idx="153">
                  <c:v>38.078740660235368</c:v>
                </c:pt>
                <c:pt idx="154">
                  <c:v>38.145644717387121</c:v>
                </c:pt>
                <c:pt idx="155">
                  <c:v>38.114436744246163</c:v>
                </c:pt>
                <c:pt idx="156">
                  <c:v>38.079217759472009</c:v>
                </c:pt>
                <c:pt idx="157">
                  <c:v>38.079694858708649</c:v>
                </c:pt>
                <c:pt idx="158">
                  <c:v>38.078740660235368</c:v>
                </c:pt>
                <c:pt idx="159">
                  <c:v>38.079408599166662</c:v>
                </c:pt>
                <c:pt idx="160">
                  <c:v>38.078549820540708</c:v>
                </c:pt>
                <c:pt idx="161">
                  <c:v>38.078358980846055</c:v>
                </c:pt>
                <c:pt idx="162">
                  <c:v>38.084058203316516</c:v>
                </c:pt>
                <c:pt idx="163">
                  <c:v>38.079718411755138</c:v>
                </c:pt>
                <c:pt idx="164">
                  <c:v>38.079789933509872</c:v>
                </c:pt>
                <c:pt idx="165">
                  <c:v>38.597729209853682</c:v>
                </c:pt>
                <c:pt idx="166">
                  <c:v>38.408988751838422</c:v>
                </c:pt>
                <c:pt idx="167">
                  <c:v>38.077691041914754</c:v>
                </c:pt>
                <c:pt idx="168">
                  <c:v>38.078263560998721</c:v>
                </c:pt>
                <c:pt idx="169">
                  <c:v>38.078454400693381</c:v>
                </c:pt>
                <c:pt idx="170">
                  <c:v>38.078072721304068</c:v>
                </c:pt>
                <c:pt idx="171">
                  <c:v>38.077977301456741</c:v>
                </c:pt>
                <c:pt idx="172">
                  <c:v>38.078168141151394</c:v>
                </c:pt>
                <c:pt idx="173">
                  <c:v>38.078263560998721</c:v>
                </c:pt>
                <c:pt idx="174">
                  <c:v>38.079122339624675</c:v>
                </c:pt>
                <c:pt idx="175">
                  <c:v>38.078645240388035</c:v>
                </c:pt>
                <c:pt idx="176">
                  <c:v>38.079313179319335</c:v>
                </c:pt>
                <c:pt idx="177">
                  <c:v>38.078836080082695</c:v>
                </c:pt>
                <c:pt idx="178">
                  <c:v>38.079313179319335</c:v>
                </c:pt>
                <c:pt idx="179">
                  <c:v>38.079408599166662</c:v>
                </c:pt>
                <c:pt idx="180">
                  <c:v>38.079313179319335</c:v>
                </c:pt>
                <c:pt idx="181">
                  <c:v>36.881920492230599</c:v>
                </c:pt>
                <c:pt idx="182">
                  <c:v>36.886786904444342</c:v>
                </c:pt>
                <c:pt idx="183">
                  <c:v>36.887454843375636</c:v>
                </c:pt>
                <c:pt idx="184">
                  <c:v>36.886596064749682</c:v>
                </c:pt>
                <c:pt idx="185">
                  <c:v>36.885641866276401</c:v>
                </c:pt>
                <c:pt idx="186">
                  <c:v>36.886405225055029</c:v>
                </c:pt>
                <c:pt idx="187">
                  <c:v>36.886118965513042</c:v>
                </c:pt>
                <c:pt idx="188">
                  <c:v>36.885546446429075</c:v>
                </c:pt>
                <c:pt idx="189">
                  <c:v>36.886500644902355</c:v>
                </c:pt>
                <c:pt idx="190">
                  <c:v>36.887454843375636</c:v>
                </c:pt>
                <c:pt idx="191">
                  <c:v>36.886405225055029</c:v>
                </c:pt>
                <c:pt idx="192">
                  <c:v>36.886500644902355</c:v>
                </c:pt>
                <c:pt idx="193">
                  <c:v>36.887454843375636</c:v>
                </c:pt>
                <c:pt idx="194">
                  <c:v>36.886882324291669</c:v>
                </c:pt>
                <c:pt idx="195">
                  <c:v>36.886786904444342</c:v>
                </c:pt>
                <c:pt idx="196">
                  <c:v>36.886691484597009</c:v>
                </c:pt>
                <c:pt idx="197">
                  <c:v>36.887264003680983</c:v>
                </c:pt>
                <c:pt idx="198">
                  <c:v>36.887359423528309</c:v>
                </c:pt>
                <c:pt idx="199">
                  <c:v>36.887264003680983</c:v>
                </c:pt>
                <c:pt idx="200">
                  <c:v>36.889744919711518</c:v>
                </c:pt>
                <c:pt idx="201">
                  <c:v>36.888122782306937</c:v>
                </c:pt>
                <c:pt idx="202">
                  <c:v>36.887645683070296</c:v>
                </c:pt>
                <c:pt idx="203">
                  <c:v>36.887264003680983</c:v>
                </c:pt>
                <c:pt idx="204">
                  <c:v>36.887168583833649</c:v>
                </c:pt>
                <c:pt idx="205">
                  <c:v>36.887454843375636</c:v>
                </c:pt>
                <c:pt idx="206">
                  <c:v>36.887931942612276</c:v>
                </c:pt>
                <c:pt idx="207">
                  <c:v>36.887073163986322</c:v>
                </c:pt>
                <c:pt idx="208">
                  <c:v>36.88783652276495</c:v>
                </c:pt>
                <c:pt idx="209">
                  <c:v>36.88783652276495</c:v>
                </c:pt>
                <c:pt idx="210">
                  <c:v>36.887931942612276</c:v>
                </c:pt>
                <c:pt idx="211">
                  <c:v>36.889840339558845</c:v>
                </c:pt>
                <c:pt idx="212">
                  <c:v>36.089449098298218</c:v>
                </c:pt>
                <c:pt idx="213">
                  <c:v>36.08868573951959</c:v>
                </c:pt>
                <c:pt idx="214">
                  <c:v>36.100422380740966</c:v>
                </c:pt>
                <c:pt idx="215">
                  <c:v>36.088494899824937</c:v>
                </c:pt>
                <c:pt idx="216">
                  <c:v>36.084678105931808</c:v>
                </c:pt>
                <c:pt idx="217">
                  <c:v>36.087922380740963</c:v>
                </c:pt>
                <c:pt idx="218">
                  <c:v>36.090226088483604</c:v>
                </c:pt>
                <c:pt idx="219">
                  <c:v>36.58773154104631</c:v>
                </c:pt>
                <c:pt idx="220">
                  <c:v>36.089162838756231</c:v>
                </c:pt>
                <c:pt idx="221">
                  <c:v>36.089258258603557</c:v>
                </c:pt>
                <c:pt idx="222">
                  <c:v>36.089353678450891</c:v>
                </c:pt>
                <c:pt idx="223">
                  <c:v>36.089258258603557</c:v>
                </c:pt>
                <c:pt idx="224">
                  <c:v>37.086968182267682</c:v>
                </c:pt>
                <c:pt idx="225">
                  <c:v>37.086968182267682</c:v>
                </c:pt>
                <c:pt idx="226">
                  <c:v>37.086968182267682</c:v>
                </c:pt>
                <c:pt idx="227">
                  <c:v>37.086968182267682</c:v>
                </c:pt>
                <c:pt idx="228">
                  <c:v>37.086968182267682</c:v>
                </c:pt>
                <c:pt idx="229">
                  <c:v>37.086968182267682</c:v>
                </c:pt>
                <c:pt idx="230">
                  <c:v>37.086968182267682</c:v>
                </c:pt>
                <c:pt idx="231">
                  <c:v>37.086968182267682</c:v>
                </c:pt>
                <c:pt idx="232">
                  <c:v>37.086968182267682</c:v>
                </c:pt>
                <c:pt idx="233">
                  <c:v>37.086968182267682</c:v>
                </c:pt>
                <c:pt idx="234">
                  <c:v>37.086968182267682</c:v>
                </c:pt>
                <c:pt idx="235">
                  <c:v>37.086968182267682</c:v>
                </c:pt>
                <c:pt idx="236">
                  <c:v>37.086968182267682</c:v>
                </c:pt>
                <c:pt idx="237">
                  <c:v>37.086968182267682</c:v>
                </c:pt>
                <c:pt idx="238">
                  <c:v>37.086968182267682</c:v>
                </c:pt>
                <c:pt idx="239">
                  <c:v>37.086968182267682</c:v>
                </c:pt>
                <c:pt idx="240">
                  <c:v>37.086968182267682</c:v>
                </c:pt>
                <c:pt idx="241">
                  <c:v>37.086968182267682</c:v>
                </c:pt>
                <c:pt idx="242">
                  <c:v>37.086968182267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9B-4B80-A895-FF4F8C6948E7}"/>
            </c:ext>
          </c:extLst>
        </c:ser>
        <c:ser>
          <c:idx val="4"/>
          <c:order val="4"/>
          <c:tx>
            <c:strRef>
              <c:f>Hárok1!$CJ$4</c:f>
              <c:strCache>
                <c:ptCount val="1"/>
                <c:pt idx="0">
                  <c:v>TS2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J$5:$CJ$247</c:f>
              <c:numCache>
                <c:formatCode>_(* #,##0_);_(* \(#,##0\);_(* "-"??_);_(@_)</c:formatCode>
                <c:ptCount val="243"/>
                <c:pt idx="0">
                  <c:v>23.830372137404581</c:v>
                </c:pt>
                <c:pt idx="1">
                  <c:v>25.411030534351141</c:v>
                </c:pt>
                <c:pt idx="2">
                  <c:v>26.694312977099234</c:v>
                </c:pt>
                <c:pt idx="3">
                  <c:v>27.897003816793891</c:v>
                </c:pt>
                <c:pt idx="4">
                  <c:v>27.862614503816793</c:v>
                </c:pt>
                <c:pt idx="5">
                  <c:v>27.764475190839693</c:v>
                </c:pt>
                <c:pt idx="6">
                  <c:v>28.571879770992364</c:v>
                </c:pt>
                <c:pt idx="7">
                  <c:v>27.398129770992366</c:v>
                </c:pt>
                <c:pt idx="8">
                  <c:v>27.278826335877859</c:v>
                </c:pt>
                <c:pt idx="9">
                  <c:v>34.262795801526714</c:v>
                </c:pt>
                <c:pt idx="10">
                  <c:v>32.817671755725186</c:v>
                </c:pt>
                <c:pt idx="11">
                  <c:v>36.631393129770991</c:v>
                </c:pt>
                <c:pt idx="12">
                  <c:v>34.544818702290073</c:v>
                </c:pt>
                <c:pt idx="13">
                  <c:v>39.132604961832058</c:v>
                </c:pt>
                <c:pt idx="14">
                  <c:v>37.592509541984732</c:v>
                </c:pt>
                <c:pt idx="15">
                  <c:v>36.716536259541982</c:v>
                </c:pt>
                <c:pt idx="16">
                  <c:v>41.443148854961834</c:v>
                </c:pt>
                <c:pt idx="17">
                  <c:v>38.305677480916025</c:v>
                </c:pt>
                <c:pt idx="18">
                  <c:v>39.904885496183205</c:v>
                </c:pt>
                <c:pt idx="19">
                  <c:v>38.773988549618323</c:v>
                </c:pt>
                <c:pt idx="20">
                  <c:v>38.072690839694658</c:v>
                </c:pt>
                <c:pt idx="21">
                  <c:v>37.235820610687021</c:v>
                </c:pt>
                <c:pt idx="22">
                  <c:v>40</c:v>
                </c:pt>
                <c:pt idx="23">
                  <c:v>40.879589694656488</c:v>
                </c:pt>
                <c:pt idx="24">
                  <c:v>40.585820610687023</c:v>
                </c:pt>
                <c:pt idx="25">
                  <c:v>40.763788167938927</c:v>
                </c:pt>
                <c:pt idx="26">
                  <c:v>40.216488549618319</c:v>
                </c:pt>
                <c:pt idx="27">
                  <c:v>40.149293893129766</c:v>
                </c:pt>
                <c:pt idx="28">
                  <c:v>39.975828789531079</c:v>
                </c:pt>
                <c:pt idx="29">
                  <c:v>40.367258529365941</c:v>
                </c:pt>
                <c:pt idx="30">
                  <c:v>36.15479961832061</c:v>
                </c:pt>
                <c:pt idx="31">
                  <c:v>43.953206106870226</c:v>
                </c:pt>
                <c:pt idx="32">
                  <c:v>39.99124045801527</c:v>
                </c:pt>
                <c:pt idx="33">
                  <c:v>40.411603053435115</c:v>
                </c:pt>
                <c:pt idx="34">
                  <c:v>40.432089694656483</c:v>
                </c:pt>
                <c:pt idx="35">
                  <c:v>40.23614503816794</c:v>
                </c:pt>
                <c:pt idx="36">
                  <c:v>39.888024809160306</c:v>
                </c:pt>
                <c:pt idx="37">
                  <c:v>39.251975190839694</c:v>
                </c:pt>
                <c:pt idx="38">
                  <c:v>39.969522900763359</c:v>
                </c:pt>
                <c:pt idx="39">
                  <c:v>39.295257633587788</c:v>
                </c:pt>
                <c:pt idx="40">
                  <c:v>39.502881679389311</c:v>
                </c:pt>
                <c:pt idx="41">
                  <c:v>37.717003816793891</c:v>
                </c:pt>
                <c:pt idx="42">
                  <c:v>37.27360687022901</c:v>
                </c:pt>
                <c:pt idx="43">
                  <c:v>38.985467557251908</c:v>
                </c:pt>
                <c:pt idx="44">
                  <c:v>40.361335877862594</c:v>
                </c:pt>
                <c:pt idx="45">
                  <c:v>40.398311068702291</c:v>
                </c:pt>
                <c:pt idx="46">
                  <c:v>41.89268129770992</c:v>
                </c:pt>
                <c:pt idx="47">
                  <c:v>40.656221374045799</c:v>
                </c:pt>
                <c:pt idx="48">
                  <c:v>37.19466603053435</c:v>
                </c:pt>
                <c:pt idx="49">
                  <c:v>35.852414122137404</c:v>
                </c:pt>
                <c:pt idx="50">
                  <c:v>36.143578244274806</c:v>
                </c:pt>
                <c:pt idx="51">
                  <c:v>36.700209923664119</c:v>
                </c:pt>
                <c:pt idx="52">
                  <c:v>38.405440294438385</c:v>
                </c:pt>
                <c:pt idx="53">
                  <c:v>38.662643129770991</c:v>
                </c:pt>
                <c:pt idx="54">
                  <c:v>44.540877862595423</c:v>
                </c:pt>
                <c:pt idx="55">
                  <c:v>46.695772900763352</c:v>
                </c:pt>
                <c:pt idx="56">
                  <c:v>48.191622137404579</c:v>
                </c:pt>
                <c:pt idx="57">
                  <c:v>46.959656488549619</c:v>
                </c:pt>
                <c:pt idx="58">
                  <c:v>49.25282442748091</c:v>
                </c:pt>
                <c:pt idx="59">
                  <c:v>49.749188931297702</c:v>
                </c:pt>
                <c:pt idx="60">
                  <c:v>40.798950381679383</c:v>
                </c:pt>
                <c:pt idx="61">
                  <c:v>40.722127862595421</c:v>
                </c:pt>
                <c:pt idx="62">
                  <c:v>40.372242366412209</c:v>
                </c:pt>
                <c:pt idx="63">
                  <c:v>40.355257633587783</c:v>
                </c:pt>
                <c:pt idx="64">
                  <c:v>40.703358778625947</c:v>
                </c:pt>
                <c:pt idx="65">
                  <c:v>40.878091603053434</c:v>
                </c:pt>
                <c:pt idx="66">
                  <c:v>41.93988822246456</c:v>
                </c:pt>
                <c:pt idx="67">
                  <c:v>41.356383587786254</c:v>
                </c:pt>
                <c:pt idx="68">
                  <c:v>41.249398854961832</c:v>
                </c:pt>
                <c:pt idx="69">
                  <c:v>41.508311068702284</c:v>
                </c:pt>
                <c:pt idx="70">
                  <c:v>41.018711832061065</c:v>
                </c:pt>
                <c:pt idx="71">
                  <c:v>40.77230916030534</c:v>
                </c:pt>
                <c:pt idx="72">
                  <c:v>40.693139312977095</c:v>
                </c:pt>
                <c:pt idx="73">
                  <c:v>40.605372137404579</c:v>
                </c:pt>
                <c:pt idx="74">
                  <c:v>40.146555343511451</c:v>
                </c:pt>
                <c:pt idx="75">
                  <c:v>39.970419847328245</c:v>
                </c:pt>
                <c:pt idx="76">
                  <c:v>40.610706106870225</c:v>
                </c:pt>
                <c:pt idx="77">
                  <c:v>40.001068702290077</c:v>
                </c:pt>
                <c:pt idx="78">
                  <c:v>40.050715648854961</c:v>
                </c:pt>
                <c:pt idx="79">
                  <c:v>40.397977099236634</c:v>
                </c:pt>
                <c:pt idx="80">
                  <c:v>40.254687840785166</c:v>
                </c:pt>
                <c:pt idx="81">
                  <c:v>40.509169847328238</c:v>
                </c:pt>
                <c:pt idx="82">
                  <c:v>40.256392156099075</c:v>
                </c:pt>
                <c:pt idx="83">
                  <c:v>39.292824427480916</c:v>
                </c:pt>
                <c:pt idx="84">
                  <c:v>37.017385496183209</c:v>
                </c:pt>
                <c:pt idx="85">
                  <c:v>34.482089694656487</c:v>
                </c:pt>
                <c:pt idx="86">
                  <c:v>38.37753816793893</c:v>
                </c:pt>
                <c:pt idx="87">
                  <c:v>39.465591603053433</c:v>
                </c:pt>
                <c:pt idx="88">
                  <c:v>39.267404580152672</c:v>
                </c:pt>
                <c:pt idx="89">
                  <c:v>38.358540076335878</c:v>
                </c:pt>
                <c:pt idx="90">
                  <c:v>32.325734732824429</c:v>
                </c:pt>
                <c:pt idx="91">
                  <c:v>31.358692748091599</c:v>
                </c:pt>
                <c:pt idx="92">
                  <c:v>33.591383587786254</c:v>
                </c:pt>
                <c:pt idx="93">
                  <c:v>36.106412213740455</c:v>
                </c:pt>
                <c:pt idx="94">
                  <c:v>36.958139312977096</c:v>
                </c:pt>
                <c:pt idx="95">
                  <c:v>32.946956106870232</c:v>
                </c:pt>
                <c:pt idx="96">
                  <c:v>30.786517175572516</c:v>
                </c:pt>
                <c:pt idx="97">
                  <c:v>29.811106870229004</c:v>
                </c:pt>
                <c:pt idx="98">
                  <c:v>28.399637404580151</c:v>
                </c:pt>
                <c:pt idx="99">
                  <c:v>28.306020992366413</c:v>
                </c:pt>
                <c:pt idx="100">
                  <c:v>36.242566793893126</c:v>
                </c:pt>
                <c:pt idx="101">
                  <c:v>36.064570610687021</c:v>
                </c:pt>
                <c:pt idx="102">
                  <c:v>35.585438931297709</c:v>
                </c:pt>
                <c:pt idx="103">
                  <c:v>31.320133587786259</c:v>
                </c:pt>
                <c:pt idx="104">
                  <c:v>29.93543893129771</c:v>
                </c:pt>
                <c:pt idx="105">
                  <c:v>27.625114503816789</c:v>
                </c:pt>
                <c:pt idx="106">
                  <c:v>28.496917938931297</c:v>
                </c:pt>
                <c:pt idx="107">
                  <c:v>30.473358778625951</c:v>
                </c:pt>
                <c:pt idx="108">
                  <c:v>31.091125954198471</c:v>
                </c:pt>
                <c:pt idx="109">
                  <c:v>32.619456106870224</c:v>
                </c:pt>
                <c:pt idx="110">
                  <c:v>32.133979007633585</c:v>
                </c:pt>
                <c:pt idx="111">
                  <c:v>28.570734732824423</c:v>
                </c:pt>
                <c:pt idx="112">
                  <c:v>28.395238549618323</c:v>
                </c:pt>
                <c:pt idx="113">
                  <c:v>27.285524809160304</c:v>
                </c:pt>
                <c:pt idx="114">
                  <c:v>28.335772900763359</c:v>
                </c:pt>
                <c:pt idx="115">
                  <c:v>29.786860687022898</c:v>
                </c:pt>
                <c:pt idx="116">
                  <c:v>22.295505725190839</c:v>
                </c:pt>
                <c:pt idx="117">
                  <c:v>28.114802344601966</c:v>
                </c:pt>
                <c:pt idx="118">
                  <c:v>22.507795801526715</c:v>
                </c:pt>
                <c:pt idx="119">
                  <c:v>22.258721374045802</c:v>
                </c:pt>
                <c:pt idx="120">
                  <c:v>25.797854806044551</c:v>
                </c:pt>
                <c:pt idx="121">
                  <c:v>31.358606870229004</c:v>
                </c:pt>
                <c:pt idx="122">
                  <c:v>30.003616412213741</c:v>
                </c:pt>
                <c:pt idx="123">
                  <c:v>33.435706106870228</c:v>
                </c:pt>
                <c:pt idx="124">
                  <c:v>37.430229007633585</c:v>
                </c:pt>
                <c:pt idx="125">
                  <c:v>36.769045801526715</c:v>
                </c:pt>
                <c:pt idx="126">
                  <c:v>35.91854007633588</c:v>
                </c:pt>
                <c:pt idx="127">
                  <c:v>32.959085582979107</c:v>
                </c:pt>
                <c:pt idx="128">
                  <c:v>35.01404580152672</c:v>
                </c:pt>
                <c:pt idx="129">
                  <c:v>32.913215648854958</c:v>
                </c:pt>
                <c:pt idx="130">
                  <c:v>29.777557251908398</c:v>
                </c:pt>
                <c:pt idx="131">
                  <c:v>27.318015267175571</c:v>
                </c:pt>
                <c:pt idx="132">
                  <c:v>33.468931297709922</c:v>
                </c:pt>
                <c:pt idx="133">
                  <c:v>33.837003816793896</c:v>
                </c:pt>
                <c:pt idx="134">
                  <c:v>32.797347328244278</c:v>
                </c:pt>
                <c:pt idx="135">
                  <c:v>30.248263358778626</c:v>
                </c:pt>
                <c:pt idx="136">
                  <c:v>28.789551526717556</c:v>
                </c:pt>
                <c:pt idx="137">
                  <c:v>28.11743320610687</c:v>
                </c:pt>
                <c:pt idx="138">
                  <c:v>24.765601145038165</c:v>
                </c:pt>
                <c:pt idx="139">
                  <c:v>20.846727099236642</c:v>
                </c:pt>
                <c:pt idx="140">
                  <c:v>21.348759541984734</c:v>
                </c:pt>
                <c:pt idx="141">
                  <c:v>20.990066793893128</c:v>
                </c:pt>
                <c:pt idx="142">
                  <c:v>23.014818702290075</c:v>
                </c:pt>
                <c:pt idx="143">
                  <c:v>22.002490458015266</c:v>
                </c:pt>
                <c:pt idx="144">
                  <c:v>22.749618320610686</c:v>
                </c:pt>
                <c:pt idx="145">
                  <c:v>23.391440839694656</c:v>
                </c:pt>
                <c:pt idx="146">
                  <c:v>22.133253816793893</c:v>
                </c:pt>
                <c:pt idx="147">
                  <c:v>21.525543893129772</c:v>
                </c:pt>
                <c:pt idx="148">
                  <c:v>20.762633587786258</c:v>
                </c:pt>
                <c:pt idx="149">
                  <c:v>22.276564885496182</c:v>
                </c:pt>
                <c:pt idx="150">
                  <c:v>22.779541984732823</c:v>
                </c:pt>
                <c:pt idx="151">
                  <c:v>20.941307251908395</c:v>
                </c:pt>
                <c:pt idx="152">
                  <c:v>21.674408396946564</c:v>
                </c:pt>
                <c:pt idx="153">
                  <c:v>19.122795801526717</c:v>
                </c:pt>
                <c:pt idx="154">
                  <c:v>21.297542257360959</c:v>
                </c:pt>
                <c:pt idx="155">
                  <c:v>25.350858778625955</c:v>
                </c:pt>
                <c:pt idx="156">
                  <c:v>23.498759541984732</c:v>
                </c:pt>
                <c:pt idx="157">
                  <c:v>21.628406488549615</c:v>
                </c:pt>
                <c:pt idx="158">
                  <c:v>21.930582645271848</c:v>
                </c:pt>
                <c:pt idx="159">
                  <c:v>23.380133587786258</c:v>
                </c:pt>
                <c:pt idx="160">
                  <c:v>23.449914122137404</c:v>
                </c:pt>
                <c:pt idx="161">
                  <c:v>23.555458015267174</c:v>
                </c:pt>
                <c:pt idx="162">
                  <c:v>21.825935114503817</c:v>
                </c:pt>
                <c:pt idx="163">
                  <c:v>22.006040076335879</c:v>
                </c:pt>
                <c:pt idx="164">
                  <c:v>22.481202290076336</c:v>
                </c:pt>
                <c:pt idx="165">
                  <c:v>25.996183206106871</c:v>
                </c:pt>
                <c:pt idx="166">
                  <c:v>28.663511450381677</c:v>
                </c:pt>
                <c:pt idx="167">
                  <c:v>31.14405534351145</c:v>
                </c:pt>
                <c:pt idx="168">
                  <c:v>29.692538167938928</c:v>
                </c:pt>
                <c:pt idx="169">
                  <c:v>31.615467557251907</c:v>
                </c:pt>
                <c:pt idx="170">
                  <c:v>33.792452290076334</c:v>
                </c:pt>
                <c:pt idx="171">
                  <c:v>1.9083969465648855E-5</c:v>
                </c:pt>
                <c:pt idx="172">
                  <c:v>3.8167938931297711E-5</c:v>
                </c:pt>
                <c:pt idx="173">
                  <c:v>3.8167938931297711E-5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15.202213740458014</c:v>
                </c:pt>
                <c:pt idx="178">
                  <c:v>33.6406106870229</c:v>
                </c:pt>
                <c:pt idx="179">
                  <c:v>34.662900763358778</c:v>
                </c:pt>
                <c:pt idx="180">
                  <c:v>36.139513358778622</c:v>
                </c:pt>
                <c:pt idx="181">
                  <c:v>36.258816793893125</c:v>
                </c:pt>
                <c:pt idx="182">
                  <c:v>34.873263358778622</c:v>
                </c:pt>
                <c:pt idx="183">
                  <c:v>34.511698473282436</c:v>
                </c:pt>
                <c:pt idx="184">
                  <c:v>35.329417938931293</c:v>
                </c:pt>
                <c:pt idx="185">
                  <c:v>36.386450381679388</c:v>
                </c:pt>
                <c:pt idx="186">
                  <c:v>35.89761450381679</c:v>
                </c:pt>
                <c:pt idx="187">
                  <c:v>35.936040076335871</c:v>
                </c:pt>
                <c:pt idx="188">
                  <c:v>35.912757633587788</c:v>
                </c:pt>
                <c:pt idx="189">
                  <c:v>35.932843511450379</c:v>
                </c:pt>
                <c:pt idx="190">
                  <c:v>35.714274809160301</c:v>
                </c:pt>
                <c:pt idx="191">
                  <c:v>41.123654580152674</c:v>
                </c:pt>
                <c:pt idx="192">
                  <c:v>44.691975190839692</c:v>
                </c:pt>
                <c:pt idx="193">
                  <c:v>45.41820610687023</c:v>
                </c:pt>
                <c:pt idx="194">
                  <c:v>45.996173664122132</c:v>
                </c:pt>
                <c:pt idx="195">
                  <c:v>45.418101145038165</c:v>
                </c:pt>
                <c:pt idx="196">
                  <c:v>45.100744274809159</c:v>
                </c:pt>
                <c:pt idx="197">
                  <c:v>44.158396946564878</c:v>
                </c:pt>
                <c:pt idx="198">
                  <c:v>45.50652671755725</c:v>
                </c:pt>
                <c:pt idx="199">
                  <c:v>45.262824427480915</c:v>
                </c:pt>
                <c:pt idx="200">
                  <c:v>45.321965648854963</c:v>
                </c:pt>
                <c:pt idx="201">
                  <c:v>45.348167938931297</c:v>
                </c:pt>
                <c:pt idx="202">
                  <c:v>46.28158396946565</c:v>
                </c:pt>
                <c:pt idx="203">
                  <c:v>45.027853053435116</c:v>
                </c:pt>
                <c:pt idx="204">
                  <c:v>44.473673664122131</c:v>
                </c:pt>
                <c:pt idx="205">
                  <c:v>44.501612595419843</c:v>
                </c:pt>
                <c:pt idx="206">
                  <c:v>45.543320610687019</c:v>
                </c:pt>
                <c:pt idx="207">
                  <c:v>45.515772900763352</c:v>
                </c:pt>
                <c:pt idx="208">
                  <c:v>45.252471374045797</c:v>
                </c:pt>
                <c:pt idx="209">
                  <c:v>45.67393129770992</c:v>
                </c:pt>
                <c:pt idx="210">
                  <c:v>44.858673664122136</c:v>
                </c:pt>
                <c:pt idx="211">
                  <c:v>44.158874045801525</c:v>
                </c:pt>
                <c:pt idx="212">
                  <c:v>40.614856870229005</c:v>
                </c:pt>
                <c:pt idx="213">
                  <c:v>42.629303435114508</c:v>
                </c:pt>
                <c:pt idx="214">
                  <c:v>41.905515267175574</c:v>
                </c:pt>
                <c:pt idx="215">
                  <c:v>39.14250954198473</c:v>
                </c:pt>
                <c:pt idx="216">
                  <c:v>41.589866412213738</c:v>
                </c:pt>
                <c:pt idx="217">
                  <c:v>40.008291984732821</c:v>
                </c:pt>
                <c:pt idx="218">
                  <c:v>38.544904580152668</c:v>
                </c:pt>
                <c:pt idx="219">
                  <c:v>40.633606870229002</c:v>
                </c:pt>
                <c:pt idx="220">
                  <c:v>36.391440839694653</c:v>
                </c:pt>
                <c:pt idx="221">
                  <c:v>35.890582061068706</c:v>
                </c:pt>
                <c:pt idx="222">
                  <c:v>42.313187022900763</c:v>
                </c:pt>
                <c:pt idx="223">
                  <c:v>46.955229007633584</c:v>
                </c:pt>
                <c:pt idx="224">
                  <c:v>46.539188931297709</c:v>
                </c:pt>
                <c:pt idx="225">
                  <c:v>44.571106870229009</c:v>
                </c:pt>
                <c:pt idx="226">
                  <c:v>44.256937022900765</c:v>
                </c:pt>
                <c:pt idx="227">
                  <c:v>45.948339694656482</c:v>
                </c:pt>
                <c:pt idx="228">
                  <c:v>42.883244274809158</c:v>
                </c:pt>
                <c:pt idx="229">
                  <c:v>43.724704198473276</c:v>
                </c:pt>
                <c:pt idx="230">
                  <c:v>43.965257633587782</c:v>
                </c:pt>
                <c:pt idx="231">
                  <c:v>44.963778625954198</c:v>
                </c:pt>
                <c:pt idx="232">
                  <c:v>44.608769083969463</c:v>
                </c:pt>
                <c:pt idx="233">
                  <c:v>44.856249999999996</c:v>
                </c:pt>
                <c:pt idx="234">
                  <c:v>43.418807251908397</c:v>
                </c:pt>
                <c:pt idx="235">
                  <c:v>43.55338740458015</c:v>
                </c:pt>
                <c:pt idx="236">
                  <c:v>43.537757633587781</c:v>
                </c:pt>
                <c:pt idx="237">
                  <c:v>42.910677480916029</c:v>
                </c:pt>
                <c:pt idx="238">
                  <c:v>45.290114503816795</c:v>
                </c:pt>
                <c:pt idx="239">
                  <c:v>47.47907442748091</c:v>
                </c:pt>
                <c:pt idx="240">
                  <c:v>43.939532442748096</c:v>
                </c:pt>
                <c:pt idx="241">
                  <c:v>44.416583969465648</c:v>
                </c:pt>
                <c:pt idx="242">
                  <c:v>38.844637404580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9B-4B80-A895-FF4F8C6948E7}"/>
            </c:ext>
          </c:extLst>
        </c:ser>
        <c:ser>
          <c:idx val="5"/>
          <c:order val="5"/>
          <c:tx>
            <c:strRef>
              <c:f>Hárok1!$CK$4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Hárok1!$CE$5:$CE$247</c:f>
              <c:numCache>
                <c:formatCode>m/d/yyyy</c:formatCode>
                <c:ptCount val="243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</c:numCache>
            </c:numRef>
          </c:cat>
          <c:val>
            <c:numRef>
              <c:f>Hárok1!$CK$5:$CK$247</c:f>
              <c:numCache>
                <c:formatCode>_(* #,##0.00_);_(* \(#,##0.00\);_(* "-"??_);_(@_)</c:formatCode>
                <c:ptCount val="243"/>
                <c:pt idx="0">
                  <c:v>50.966424936386773</c:v>
                </c:pt>
                <c:pt idx="1">
                  <c:v>46.685161577608199</c:v>
                </c:pt>
                <c:pt idx="2">
                  <c:v>45.880840966921141</c:v>
                </c:pt>
                <c:pt idx="3">
                  <c:v>37.848390585241759</c:v>
                </c:pt>
                <c:pt idx="4">
                  <c:v>55.219394402035675</c:v>
                </c:pt>
                <c:pt idx="5">
                  <c:v>37.528279898218841</c:v>
                </c:pt>
                <c:pt idx="6">
                  <c:v>36.205173027989815</c:v>
                </c:pt>
                <c:pt idx="7">
                  <c:v>34.573085241730269</c:v>
                </c:pt>
                <c:pt idx="8">
                  <c:v>34.889558524173083</c:v>
                </c:pt>
                <c:pt idx="9">
                  <c:v>36.76649363867682</c:v>
                </c:pt>
                <c:pt idx="10">
                  <c:v>37.220421119592856</c:v>
                </c:pt>
                <c:pt idx="11">
                  <c:v>38.598043256997471</c:v>
                </c:pt>
                <c:pt idx="12">
                  <c:v>37.641455470737924</c:v>
                </c:pt>
                <c:pt idx="13">
                  <c:v>34.826417302798973</c:v>
                </c:pt>
                <c:pt idx="14">
                  <c:v>34.933680661577625</c:v>
                </c:pt>
                <c:pt idx="15">
                  <c:v>33.766921119592894</c:v>
                </c:pt>
                <c:pt idx="16">
                  <c:v>35.247852417302852</c:v>
                </c:pt>
                <c:pt idx="17">
                  <c:v>32.728947837150088</c:v>
                </c:pt>
                <c:pt idx="18">
                  <c:v>32.905543256997419</c:v>
                </c:pt>
                <c:pt idx="19">
                  <c:v>31.688329516539511</c:v>
                </c:pt>
                <c:pt idx="20">
                  <c:v>31.382024173028015</c:v>
                </c:pt>
                <c:pt idx="21">
                  <c:v>31.90692111959288</c:v>
                </c:pt>
                <c:pt idx="22">
                  <c:v>31.675653944020382</c:v>
                </c:pt>
                <c:pt idx="23">
                  <c:v>32.66627608142494</c:v>
                </c:pt>
                <c:pt idx="24">
                  <c:v>33.688661577608173</c:v>
                </c:pt>
                <c:pt idx="25">
                  <c:v>32.249863867684553</c:v>
                </c:pt>
                <c:pt idx="26">
                  <c:v>39.893837150127183</c:v>
                </c:pt>
                <c:pt idx="27">
                  <c:v>35.652646310432601</c:v>
                </c:pt>
                <c:pt idx="28">
                  <c:v>31.250562340966951</c:v>
                </c:pt>
                <c:pt idx="29">
                  <c:v>30.202169211195951</c:v>
                </c:pt>
                <c:pt idx="30">
                  <c:v>34.911207379134908</c:v>
                </c:pt>
                <c:pt idx="31">
                  <c:v>57.698867684478387</c:v>
                </c:pt>
                <c:pt idx="32">
                  <c:v>58.309321882951622</c:v>
                </c:pt>
                <c:pt idx="33">
                  <c:v>56.180402035623388</c:v>
                </c:pt>
                <c:pt idx="34">
                  <c:v>57.549035623409623</c:v>
                </c:pt>
                <c:pt idx="35">
                  <c:v>57.037688295165424</c:v>
                </c:pt>
                <c:pt idx="36">
                  <c:v>56.6386348600509</c:v>
                </c:pt>
                <c:pt idx="37">
                  <c:v>56.248661577608118</c:v>
                </c:pt>
                <c:pt idx="38">
                  <c:v>48.812707379134849</c:v>
                </c:pt>
                <c:pt idx="39">
                  <c:v>57.859989821883005</c:v>
                </c:pt>
                <c:pt idx="40">
                  <c:v>54.972027989821868</c:v>
                </c:pt>
                <c:pt idx="41">
                  <c:v>56.605684478371586</c:v>
                </c:pt>
                <c:pt idx="42">
                  <c:v>55.233741730279917</c:v>
                </c:pt>
                <c:pt idx="43">
                  <c:v>55.068653944020411</c:v>
                </c:pt>
                <c:pt idx="44">
                  <c:v>56.583077608142503</c:v>
                </c:pt>
                <c:pt idx="45">
                  <c:v>56.716623409669296</c:v>
                </c:pt>
                <c:pt idx="46">
                  <c:v>56.343921119592835</c:v>
                </c:pt>
                <c:pt idx="47">
                  <c:v>53.469291348600564</c:v>
                </c:pt>
                <c:pt idx="48">
                  <c:v>54.486092875318093</c:v>
                </c:pt>
                <c:pt idx="49">
                  <c:v>54.945493638676908</c:v>
                </c:pt>
                <c:pt idx="50">
                  <c:v>54.336711195928785</c:v>
                </c:pt>
                <c:pt idx="51">
                  <c:v>56.854573791348685</c:v>
                </c:pt>
                <c:pt idx="52">
                  <c:v>57.671302798982197</c:v>
                </c:pt>
                <c:pt idx="53">
                  <c:v>56.78427989821887</c:v>
                </c:pt>
                <c:pt idx="54">
                  <c:v>58.905424936386794</c:v>
                </c:pt>
                <c:pt idx="55">
                  <c:v>65.367199745547111</c:v>
                </c:pt>
                <c:pt idx="56">
                  <c:v>77.276547073791335</c:v>
                </c:pt>
                <c:pt idx="57">
                  <c:v>68.317058524173035</c:v>
                </c:pt>
                <c:pt idx="58">
                  <c:v>69.803325699745471</c:v>
                </c:pt>
                <c:pt idx="59">
                  <c:v>84.028332242820852</c:v>
                </c:pt>
                <c:pt idx="60">
                  <c:v>85.444671781689749</c:v>
                </c:pt>
                <c:pt idx="61">
                  <c:v>87.418249363867744</c:v>
                </c:pt>
                <c:pt idx="62">
                  <c:v>87.526914242687269</c:v>
                </c:pt>
                <c:pt idx="63">
                  <c:v>86.808245547073795</c:v>
                </c:pt>
                <c:pt idx="64">
                  <c:v>84.378218829516527</c:v>
                </c:pt>
                <c:pt idx="65">
                  <c:v>84.944653944020445</c:v>
                </c:pt>
                <c:pt idx="66">
                  <c:v>84.501386768447844</c:v>
                </c:pt>
                <c:pt idx="67">
                  <c:v>85.736531806615801</c:v>
                </c:pt>
                <c:pt idx="68">
                  <c:v>87.597871501272266</c:v>
                </c:pt>
                <c:pt idx="69">
                  <c:v>90.03804053071616</c:v>
                </c:pt>
                <c:pt idx="70">
                  <c:v>87.534178091083788</c:v>
                </c:pt>
                <c:pt idx="71">
                  <c:v>87.022268781667492</c:v>
                </c:pt>
                <c:pt idx="72">
                  <c:v>86.499695928753226</c:v>
                </c:pt>
                <c:pt idx="73">
                  <c:v>61.820615776081411</c:v>
                </c:pt>
                <c:pt idx="74">
                  <c:v>58.502585241730344</c:v>
                </c:pt>
                <c:pt idx="75">
                  <c:v>57.170688295165405</c:v>
                </c:pt>
                <c:pt idx="76">
                  <c:v>58.157379134860093</c:v>
                </c:pt>
                <c:pt idx="77">
                  <c:v>57.976211195928784</c:v>
                </c:pt>
                <c:pt idx="78">
                  <c:v>57.969321882951704</c:v>
                </c:pt>
                <c:pt idx="79">
                  <c:v>56.411249363867682</c:v>
                </c:pt>
                <c:pt idx="80">
                  <c:v>57.798756997455484</c:v>
                </c:pt>
                <c:pt idx="81">
                  <c:v>56.913478371501299</c:v>
                </c:pt>
                <c:pt idx="82">
                  <c:v>56.292138676844786</c:v>
                </c:pt>
                <c:pt idx="83">
                  <c:v>55.862501272264694</c:v>
                </c:pt>
                <c:pt idx="84">
                  <c:v>54.173276081424945</c:v>
                </c:pt>
                <c:pt idx="85">
                  <c:v>55.11732569974555</c:v>
                </c:pt>
                <c:pt idx="86">
                  <c:v>55.826772264631018</c:v>
                </c:pt>
                <c:pt idx="87">
                  <c:v>56.491325699745516</c:v>
                </c:pt>
                <c:pt idx="88">
                  <c:v>70.542856234096746</c:v>
                </c:pt>
                <c:pt idx="89">
                  <c:v>74.224676844783744</c:v>
                </c:pt>
                <c:pt idx="90">
                  <c:v>48.460397575706793</c:v>
                </c:pt>
                <c:pt idx="91">
                  <c:v>57.695355590973918</c:v>
                </c:pt>
                <c:pt idx="92">
                  <c:v>60.682912842882274</c:v>
                </c:pt>
                <c:pt idx="93">
                  <c:v>60.392855590973909</c:v>
                </c:pt>
                <c:pt idx="94">
                  <c:v>56.502855590973923</c:v>
                </c:pt>
                <c:pt idx="95">
                  <c:v>54.809996812347947</c:v>
                </c:pt>
                <c:pt idx="96">
                  <c:v>50.937611316164748</c:v>
                </c:pt>
                <c:pt idx="97">
                  <c:v>45.310504445935749</c:v>
                </c:pt>
                <c:pt idx="98">
                  <c:v>45.944401392500595</c:v>
                </c:pt>
                <c:pt idx="99">
                  <c:v>46.126989178760198</c:v>
                </c:pt>
                <c:pt idx="100">
                  <c:v>47.211615132958627</c:v>
                </c:pt>
                <c:pt idx="101">
                  <c:v>46.931340323798338</c:v>
                </c:pt>
                <c:pt idx="102">
                  <c:v>46.923462461202917</c:v>
                </c:pt>
                <c:pt idx="103">
                  <c:v>46.473168568073106</c:v>
                </c:pt>
                <c:pt idx="104">
                  <c:v>46.918317423034978</c:v>
                </c:pt>
                <c:pt idx="105">
                  <c:v>46.166424293264015</c:v>
                </c:pt>
                <c:pt idx="106">
                  <c:v>46.240328873416672</c:v>
                </c:pt>
                <c:pt idx="107">
                  <c:v>46.921180018454834</c:v>
                </c:pt>
                <c:pt idx="108">
                  <c:v>47.539130400134241</c:v>
                </c:pt>
                <c:pt idx="109">
                  <c:v>47.461386125325134</c:v>
                </c:pt>
                <c:pt idx="110">
                  <c:v>47.770741087157091</c:v>
                </c:pt>
                <c:pt idx="111">
                  <c:v>47.249928110057908</c:v>
                </c:pt>
                <c:pt idx="112">
                  <c:v>42.784912842882363</c:v>
                </c:pt>
                <c:pt idx="113">
                  <c:v>38.343180018454802</c:v>
                </c:pt>
                <c:pt idx="114">
                  <c:v>35.933722003187711</c:v>
                </c:pt>
                <c:pt idx="115">
                  <c:v>46.466485361966306</c:v>
                </c:pt>
                <c:pt idx="116">
                  <c:v>18.705206736012087</c:v>
                </c:pt>
                <c:pt idx="117">
                  <c:v>16.4254395604396</c:v>
                </c:pt>
                <c:pt idx="118">
                  <c:v>16.684439560439614</c:v>
                </c:pt>
                <c:pt idx="119">
                  <c:v>15.519439560439594</c:v>
                </c:pt>
                <c:pt idx="120">
                  <c:v>15.466439560439596</c:v>
                </c:pt>
                <c:pt idx="121">
                  <c:v>32.539363224561725</c:v>
                </c:pt>
                <c:pt idx="122">
                  <c:v>33.655710552805999</c:v>
                </c:pt>
                <c:pt idx="123">
                  <c:v>33.863615132958614</c:v>
                </c:pt>
                <c:pt idx="124">
                  <c:v>33.833760171126642</c:v>
                </c:pt>
                <c:pt idx="125">
                  <c:v>33.905523529905224</c:v>
                </c:pt>
                <c:pt idx="126">
                  <c:v>15.536725819981541</c:v>
                </c:pt>
                <c:pt idx="127">
                  <c:v>15.158439560439547</c:v>
                </c:pt>
                <c:pt idx="128">
                  <c:v>24.125248720744935</c:v>
                </c:pt>
                <c:pt idx="129">
                  <c:v>17.468576965019793</c:v>
                </c:pt>
                <c:pt idx="130">
                  <c:v>15.081439560439549</c:v>
                </c:pt>
                <c:pt idx="131">
                  <c:v>15.155439560439561</c:v>
                </c:pt>
                <c:pt idx="132">
                  <c:v>15.204439560439539</c:v>
                </c:pt>
                <c:pt idx="133">
                  <c:v>14.934439560439557</c:v>
                </c:pt>
                <c:pt idx="134">
                  <c:v>14.660439560439556</c:v>
                </c:pt>
                <c:pt idx="135">
                  <c:v>14.812439560439543</c:v>
                </c:pt>
                <c:pt idx="136">
                  <c:v>14.910439560439556</c:v>
                </c:pt>
                <c:pt idx="137">
                  <c:v>15.052439560439552</c:v>
                </c:pt>
                <c:pt idx="138">
                  <c:v>14.927439560439552</c:v>
                </c:pt>
                <c:pt idx="139">
                  <c:v>15.941439560439562</c:v>
                </c:pt>
                <c:pt idx="140">
                  <c:v>15.412439560439566</c:v>
                </c:pt>
                <c:pt idx="141">
                  <c:v>15.218439560439549</c:v>
                </c:pt>
                <c:pt idx="142">
                  <c:v>15.869893758912781</c:v>
                </c:pt>
                <c:pt idx="143">
                  <c:v>16.282729636775429</c:v>
                </c:pt>
                <c:pt idx="144">
                  <c:v>15.971924293263925</c:v>
                </c:pt>
                <c:pt idx="145">
                  <c:v>16.306386125325048</c:v>
                </c:pt>
                <c:pt idx="146">
                  <c:v>16.267386125325089</c:v>
                </c:pt>
                <c:pt idx="147">
                  <c:v>15.715171294354519</c:v>
                </c:pt>
                <c:pt idx="148">
                  <c:v>15.654990113485184</c:v>
                </c:pt>
                <c:pt idx="149">
                  <c:v>16.149199102424262</c:v>
                </c:pt>
                <c:pt idx="150">
                  <c:v>16.653912842882278</c:v>
                </c:pt>
                <c:pt idx="151">
                  <c:v>17.054340323798328</c:v>
                </c:pt>
                <c:pt idx="152">
                  <c:v>16.326244903950965</c:v>
                </c:pt>
                <c:pt idx="153">
                  <c:v>14.356531163493003</c:v>
                </c:pt>
                <c:pt idx="154">
                  <c:v>15.852627106341203</c:v>
                </c:pt>
                <c:pt idx="155">
                  <c:v>15.29083507948215</c:v>
                </c:pt>
                <c:pt idx="156">
                  <c:v>15.740054064256412</c:v>
                </c:pt>
                <c:pt idx="157">
                  <c:v>16.515576965019676</c:v>
                </c:pt>
                <c:pt idx="158">
                  <c:v>16.533531163492967</c:v>
                </c:pt>
                <c:pt idx="159">
                  <c:v>16.398863224561723</c:v>
                </c:pt>
                <c:pt idx="160">
                  <c:v>16.589722003187603</c:v>
                </c:pt>
                <c:pt idx="161">
                  <c:v>16.476912842882342</c:v>
                </c:pt>
                <c:pt idx="162">
                  <c:v>16.104213620411883</c:v>
                </c:pt>
                <c:pt idx="163">
                  <c:v>16.473553411973256</c:v>
                </c:pt>
                <c:pt idx="164">
                  <c:v>16.363481890218509</c:v>
                </c:pt>
                <c:pt idx="165">
                  <c:v>15.866542613874714</c:v>
                </c:pt>
                <c:pt idx="166">
                  <c:v>16.253283071889939</c:v>
                </c:pt>
                <c:pt idx="167">
                  <c:v>15.620580781813601</c:v>
                </c:pt>
                <c:pt idx="168">
                  <c:v>15.722008262729645</c:v>
                </c:pt>
                <c:pt idx="169">
                  <c:v>15.397817423035008</c:v>
                </c:pt>
                <c:pt idx="170">
                  <c:v>15.864199102424266</c:v>
                </c:pt>
                <c:pt idx="171">
                  <c:v>16.394294522271622</c:v>
                </c:pt>
                <c:pt idx="172">
                  <c:v>16.302103682576956</c:v>
                </c:pt>
                <c:pt idx="173">
                  <c:v>16.122008262729622</c:v>
                </c:pt>
                <c:pt idx="174">
                  <c:v>16.062149484103713</c:v>
                </c:pt>
                <c:pt idx="175">
                  <c:v>15.884626583340321</c:v>
                </c:pt>
                <c:pt idx="176">
                  <c:v>15.629958644409044</c:v>
                </c:pt>
                <c:pt idx="177">
                  <c:v>16.043435743645688</c:v>
                </c:pt>
                <c:pt idx="178">
                  <c:v>18.344958644409047</c:v>
                </c:pt>
                <c:pt idx="179">
                  <c:v>16.709863224561701</c:v>
                </c:pt>
                <c:pt idx="180">
                  <c:v>17.236958644409043</c:v>
                </c:pt>
                <c:pt idx="181">
                  <c:v>15.267653667441067</c:v>
                </c:pt>
                <c:pt idx="182">
                  <c:v>14.452787255227321</c:v>
                </c:pt>
                <c:pt idx="183">
                  <c:v>13.822119316296011</c:v>
                </c:pt>
                <c:pt idx="184">
                  <c:v>14.498978094921966</c:v>
                </c:pt>
                <c:pt idx="185">
                  <c:v>14.68693229339533</c:v>
                </c:pt>
                <c:pt idx="186">
                  <c:v>14.937168934616665</c:v>
                </c:pt>
                <c:pt idx="187">
                  <c:v>14.461455194158617</c:v>
                </c:pt>
                <c:pt idx="188">
                  <c:v>14.49102771324263</c:v>
                </c:pt>
                <c:pt idx="189">
                  <c:v>13.97107351476933</c:v>
                </c:pt>
                <c:pt idx="190">
                  <c:v>13.232119316296036</c:v>
                </c:pt>
                <c:pt idx="191">
                  <c:v>13.893168934616654</c:v>
                </c:pt>
                <c:pt idx="192">
                  <c:v>13.962073514769344</c:v>
                </c:pt>
                <c:pt idx="193">
                  <c:v>14.321119316296034</c:v>
                </c:pt>
                <c:pt idx="194">
                  <c:v>14.319691835380041</c:v>
                </c:pt>
                <c:pt idx="195">
                  <c:v>14.585787255227373</c:v>
                </c:pt>
                <c:pt idx="196">
                  <c:v>14.271882675074664</c:v>
                </c:pt>
                <c:pt idx="197">
                  <c:v>13.768310155990733</c:v>
                </c:pt>
                <c:pt idx="198">
                  <c:v>14.524214736143406</c:v>
                </c:pt>
                <c:pt idx="199">
                  <c:v>14.507310155990723</c:v>
                </c:pt>
                <c:pt idx="200">
                  <c:v>14.540829239960146</c:v>
                </c:pt>
                <c:pt idx="201">
                  <c:v>14.712451377364744</c:v>
                </c:pt>
                <c:pt idx="202">
                  <c:v>14.221928476601363</c:v>
                </c:pt>
                <c:pt idx="203">
                  <c:v>14.6393101559907</c:v>
                </c:pt>
                <c:pt idx="204">
                  <c:v>14.436405575837995</c:v>
                </c:pt>
                <c:pt idx="205">
                  <c:v>14.218119316296026</c:v>
                </c:pt>
                <c:pt idx="206">
                  <c:v>14.452642217059406</c:v>
                </c:pt>
                <c:pt idx="207">
                  <c:v>14.783500995685358</c:v>
                </c:pt>
                <c:pt idx="208">
                  <c:v>14.796737636906727</c:v>
                </c:pt>
                <c:pt idx="209">
                  <c:v>14.532737636906717</c:v>
                </c:pt>
                <c:pt idx="210">
                  <c:v>14.701642217059401</c:v>
                </c:pt>
                <c:pt idx="211">
                  <c:v>14.499733820112823</c:v>
                </c:pt>
                <c:pt idx="212">
                  <c:v>14.208214736143418</c:v>
                </c:pt>
                <c:pt idx="213">
                  <c:v>14.131978094922005</c:v>
                </c:pt>
                <c:pt idx="214">
                  <c:v>14.224241453700643</c:v>
                </c:pt>
                <c:pt idx="215">
                  <c:v>14.10116893461668</c:v>
                </c:pt>
                <c:pt idx="216">
                  <c:v>14.398985728509814</c:v>
                </c:pt>
                <c:pt idx="217">
                  <c:v>14.203741453700587</c:v>
                </c:pt>
                <c:pt idx="218">
                  <c:v>13.894437745957987</c:v>
                </c:pt>
                <c:pt idx="219">
                  <c:v>13.704932293395274</c:v>
                </c:pt>
                <c:pt idx="220">
                  <c:v>14.246500995685381</c:v>
                </c:pt>
                <c:pt idx="221">
                  <c:v>14.024405575838045</c:v>
                </c:pt>
                <c:pt idx="222">
                  <c:v>14.089478094922015</c:v>
                </c:pt>
                <c:pt idx="223">
                  <c:v>15.449405575838057</c:v>
                </c:pt>
                <c:pt idx="224">
                  <c:v>13.568695652173915</c:v>
                </c:pt>
                <c:pt idx="225">
                  <c:v>12.630695652173898</c:v>
                </c:pt>
                <c:pt idx="226">
                  <c:v>13.347695652173911</c:v>
                </c:pt>
                <c:pt idx="227">
                  <c:v>13.278695652173894</c:v>
                </c:pt>
                <c:pt idx="228">
                  <c:v>13.210695652173911</c:v>
                </c:pt>
                <c:pt idx="229">
                  <c:v>13.682695652173891</c:v>
                </c:pt>
                <c:pt idx="230">
                  <c:v>13.774695652173904</c:v>
                </c:pt>
                <c:pt idx="231">
                  <c:v>13.014695652173884</c:v>
                </c:pt>
                <c:pt idx="232">
                  <c:v>13.171695652173895</c:v>
                </c:pt>
                <c:pt idx="233">
                  <c:v>13.5656956521739</c:v>
                </c:pt>
                <c:pt idx="234">
                  <c:v>13.965695652173906</c:v>
                </c:pt>
                <c:pt idx="235">
                  <c:v>15.330695652173915</c:v>
                </c:pt>
                <c:pt idx="236">
                  <c:v>14.190695652173929</c:v>
                </c:pt>
                <c:pt idx="237">
                  <c:v>14.021695652173889</c:v>
                </c:pt>
                <c:pt idx="238">
                  <c:v>13.942695652173882</c:v>
                </c:pt>
                <c:pt idx="239">
                  <c:v>12.997695652173888</c:v>
                </c:pt>
                <c:pt idx="240">
                  <c:v>13.818695652173886</c:v>
                </c:pt>
                <c:pt idx="241">
                  <c:v>15.079695652173882</c:v>
                </c:pt>
                <c:pt idx="242">
                  <c:v>13.717695652173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89B-4B80-A895-FF4F8C694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73725088"/>
        <c:axId val="873732960"/>
      </c:barChart>
      <c:dateAx>
        <c:axId val="87372508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732960"/>
        <c:crosses val="autoZero"/>
        <c:auto val="1"/>
        <c:lblOffset val="100"/>
        <c:baseTimeUnit val="days"/>
      </c:dateAx>
      <c:valAx>
        <c:axId val="873732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cm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3725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Hárok1!$B$20</c:f>
          <c:strCache>
            <c:ptCount val="1"/>
            <c:pt idx="0">
              <c:v>FC (Supply excl. RU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2949332752354649"/>
          <c:y val="0.16090299955313048"/>
          <c:w val="0.61849032526826364"/>
          <c:h val="0.58303914776757748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Hárok1!$B$25</c:f>
              <c:strCache>
                <c:ptCount val="1"/>
                <c:pt idx="0">
                  <c:v>RU to TR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5</c:f>
              <c:numCache>
                <c:formatCode>_(* #,##0_);_(* \(#,##0\);_(* "-"??_);_(@_)</c:formatCode>
                <c:ptCount val="1"/>
                <c:pt idx="0">
                  <c:v>1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84-4D03-93E1-2732AA2D57E9}"/>
            </c:ext>
          </c:extLst>
        </c:ser>
        <c:ser>
          <c:idx val="0"/>
          <c:order val="1"/>
          <c:tx>
            <c:strRef>
              <c:f>Hárok1!$B$21</c:f>
              <c:strCache>
                <c:ptCount val="1"/>
                <c:pt idx="0">
                  <c:v>Production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1</c:f>
              <c:numCache>
                <c:formatCode>_(* #,##0_);_(* \(#,##0\);_(* "-"??_);_(@_)</c:formatCode>
                <c:ptCount val="1"/>
                <c:pt idx="0">
                  <c:v>108.65652507776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84-4D03-93E1-2732AA2D57E9}"/>
            </c:ext>
          </c:extLst>
        </c:ser>
        <c:ser>
          <c:idx val="1"/>
          <c:order val="2"/>
          <c:tx>
            <c:strRef>
              <c:f>Hárok1!$B$22</c:f>
              <c:strCache>
                <c:ptCount val="1"/>
                <c:pt idx="0">
                  <c:v>Norway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2</c:f>
              <c:numCache>
                <c:formatCode>_(* #,##0_);_(* \(#,##0\);_(* "-"??_);_(@_)</c:formatCode>
                <c:ptCount val="1"/>
                <c:pt idx="0">
                  <c:v>121.07074872101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84-4D03-93E1-2732AA2D57E9}"/>
            </c:ext>
          </c:extLst>
        </c:ser>
        <c:ser>
          <c:idx val="2"/>
          <c:order val="3"/>
          <c:tx>
            <c:strRef>
              <c:f>Hárok1!$B$23</c:f>
              <c:strCache>
                <c:ptCount val="1"/>
                <c:pt idx="0">
                  <c:v>N. Afric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3</c:f>
              <c:numCache>
                <c:formatCode>_(* #,##0_);_(* \(#,##0\);_(* "-"??_);_(@_)</c:formatCode>
                <c:ptCount val="1"/>
                <c:pt idx="0">
                  <c:v>35.763613167938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84-4D03-93E1-2732AA2D57E9}"/>
            </c:ext>
          </c:extLst>
        </c:ser>
        <c:ser>
          <c:idx val="3"/>
          <c:order val="4"/>
          <c:tx>
            <c:strRef>
              <c:f>Hárok1!$B$24</c:f>
              <c:strCache>
                <c:ptCount val="1"/>
                <c:pt idx="0">
                  <c:v>Other
(AZ, IR)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4</c:f>
              <c:numCache>
                <c:formatCode>_(* #,##0_);_(* \(#,##0\);_(* "-"??_);_(@_)</c:formatCode>
                <c:ptCount val="1"/>
                <c:pt idx="0">
                  <c:v>2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84-4D03-93E1-2732AA2D57E9}"/>
            </c:ext>
          </c:extLst>
        </c:ser>
        <c:ser>
          <c:idx val="6"/>
          <c:order val="6"/>
          <c:tx>
            <c:strRef>
              <c:f>Hárok1!$B$26</c:f>
              <c:strCache>
                <c:ptCount val="1"/>
                <c:pt idx="0">
                  <c:v>LN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árok1!$C$26</c:f>
              <c:numCache>
                <c:formatCode>_(* #,##0_);_(* \(#,##0\);_(* "-"??_);_(@_)</c:formatCode>
                <c:ptCount val="1"/>
                <c:pt idx="0">
                  <c:v>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84-4D03-93E1-2732AA2D57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69810808"/>
        <c:axId val="369812448"/>
      </c:barChart>
      <c:lineChart>
        <c:grouping val="standard"/>
        <c:varyColors val="0"/>
        <c:ser>
          <c:idx val="5"/>
          <c:order val="5"/>
          <c:tx>
            <c:strRef>
              <c:f>Hárok1!$B$27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B$20</c:f>
              <c:strCache>
                <c:ptCount val="1"/>
                <c:pt idx="0">
                  <c:v>FC (Supply excl. RU)</c:v>
                </c:pt>
              </c:strCache>
            </c:strRef>
          </c:cat>
          <c:val>
            <c:numRef>
              <c:f>Hárok1!$C$27</c:f>
              <c:numCache>
                <c:formatCode>_(* #,##0_);_(* \(#,##0\);_(* "-"??_);_(@_)</c:formatCode>
                <c:ptCount val="1"/>
                <c:pt idx="0">
                  <c:v>475.8908869667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784-4D03-93E1-2732AA2D57E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69810808"/>
        <c:axId val="369812448"/>
      </c:lineChart>
      <c:catAx>
        <c:axId val="3698108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69812448"/>
        <c:crosses val="autoZero"/>
        <c:auto val="1"/>
        <c:lblAlgn val="ctr"/>
        <c:lblOffset val="100"/>
        <c:noMultiLvlLbl val="0"/>
      </c:catAx>
      <c:valAx>
        <c:axId val="3698124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cm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981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6"/>
        <c:delete val="1"/>
      </c:legendEntry>
      <c:layout>
        <c:manualLayout>
          <c:xMode val="edge"/>
          <c:yMode val="edge"/>
          <c:x val="0.14547361632601996"/>
          <c:y val="0.77383395696524948"/>
          <c:w val="0.78506701206169238"/>
          <c:h val="0.225986109325025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uropean Natural Gas Consump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1!$B$8</c:f>
              <c:strCache>
                <c:ptCount val="1"/>
                <c:pt idx="0">
                  <c:v>Consumption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8:$K$8</c:f>
              <c:numCache>
                <c:formatCode>_(* #,##0_);_(* \(#,##0\);_(* "-"??_);_(@_)</c:formatCode>
                <c:ptCount val="9"/>
                <c:pt idx="0">
                  <c:v>576.41273665622293</c:v>
                </c:pt>
                <c:pt idx="1">
                  <c:v>568.89349650296651</c:v>
                </c:pt>
                <c:pt idx="2">
                  <c:v>604.28058238580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37-42EB-B426-BBBD23CCF841}"/>
            </c:ext>
          </c:extLst>
        </c:ser>
        <c:ser>
          <c:idx val="1"/>
          <c:order val="1"/>
          <c:tx>
            <c:strRef>
              <c:f>Hárok1!$B$9</c:f>
              <c:strCache>
                <c:ptCount val="1"/>
                <c:pt idx="0">
                  <c:v>FC (Supply excl. RU to EU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9:$K$9</c:f>
              <c:numCache>
                <c:formatCode>General</c:formatCode>
                <c:ptCount val="9"/>
                <c:pt idx="3" formatCode="_(* #,##0_);_(* \(#,##0\);_(* &quot;-&quot;??_);_(@_)">
                  <c:v>475.89088696671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37-42EB-B426-BBBD23CCF841}"/>
            </c:ext>
          </c:extLst>
        </c:ser>
        <c:ser>
          <c:idx val="2"/>
          <c:order val="2"/>
          <c:tx>
            <c:strRef>
              <c:f>Hárok1!$B$10</c:f>
              <c:strCache>
                <c:ptCount val="1"/>
                <c:pt idx="0">
                  <c:v>aux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0:$K$10</c:f>
              <c:numCache>
                <c:formatCode>General</c:formatCode>
                <c:ptCount val="9"/>
                <c:pt idx="4" formatCode="_(* #,##0_);_(* \(#,##0\);_(* &quot;-&quot;??_);_(@_)">
                  <c:v>475.89088696671956</c:v>
                </c:pt>
                <c:pt idx="5" formatCode="_(* #,##0_);_(* \(#,##0\);_(* &quot;-&quot;??_);_(@_)">
                  <c:v>506.69088696671957</c:v>
                </c:pt>
                <c:pt idx="6" formatCode="_(* #,##0_);_(* \(#,##0\);_(* &quot;-&quot;??_);_(@_)">
                  <c:v>528.89088696671956</c:v>
                </c:pt>
                <c:pt idx="7" formatCode="_(* #,##0_);_(* \(#,##0\);_(* &quot;-&quot;??_);_(@_)">
                  <c:v>534.89088696671956</c:v>
                </c:pt>
                <c:pt idx="8" formatCode="_(* #,##0_);_(* \(#,##0\);_(* &quot;-&quot;??_);_(@_)">
                  <c:v>577.39088696671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37-42EB-B426-BBBD23CCF841}"/>
            </c:ext>
          </c:extLst>
        </c:ser>
        <c:ser>
          <c:idx val="3"/>
          <c:order val="3"/>
          <c:tx>
            <c:strRef>
              <c:f>Hárok1!$B$11</c:f>
              <c:strCache>
                <c:ptCount val="1"/>
                <c:pt idx="0">
                  <c:v>max. LNG regas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1:$K$11</c:f>
              <c:numCache>
                <c:formatCode>General</c:formatCode>
                <c:ptCount val="9"/>
                <c:pt idx="4" formatCode="_(* #,##0_);_(* \(#,##0\);_(* &quot;-&quot;??_);_(@_)">
                  <c:v>30.8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37-42EB-B426-BBBD23CCF841}"/>
            </c:ext>
          </c:extLst>
        </c:ser>
        <c:ser>
          <c:idx val="4"/>
          <c:order val="4"/>
          <c:tx>
            <c:strRef>
              <c:f>Hárok1!$B$12</c:f>
              <c:strCache>
                <c:ptCount val="1"/>
                <c:pt idx="0">
                  <c:v>add. LNG after NO and NA rerouting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2:$K$12</c:f>
              <c:numCache>
                <c:formatCode>General</c:formatCode>
                <c:ptCount val="9"/>
                <c:pt idx="5" formatCode="_(* #,##0_);_(* \(#,##0\);_(* &quot;-&quot;??_);_(@_)">
                  <c:v>22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37-42EB-B426-BBBD23CCF841}"/>
            </c:ext>
          </c:extLst>
        </c:ser>
        <c:ser>
          <c:idx val="5"/>
          <c:order val="5"/>
          <c:tx>
            <c:strRef>
              <c:f>Hárok1!$B$13</c:f>
              <c:strCache>
                <c:ptCount val="1"/>
                <c:pt idx="0">
                  <c:v>new LNG regas 2022</c:v>
                </c:pt>
              </c:strCache>
            </c:strRef>
          </c:tx>
          <c:spPr>
            <a:pattFill prst="ltUpDiag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3:$K$13</c:f>
              <c:numCache>
                <c:formatCode>General</c:formatCode>
                <c:ptCount val="9"/>
                <c:pt idx="6" formatCode="_(* #,##0_);_(* \(#,##0\);_(* &quot;-&quot;??_);_(@_)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737-42EB-B426-BBBD23CCF841}"/>
            </c:ext>
          </c:extLst>
        </c:ser>
        <c:ser>
          <c:idx val="6"/>
          <c:order val="6"/>
          <c:tx>
            <c:strRef>
              <c:f>Hárok1!$B$14</c:f>
              <c:strCache>
                <c:ptCount val="1"/>
                <c:pt idx="0">
                  <c:v>new LNG regas 2023</c:v>
                </c:pt>
              </c:strCache>
            </c:strRef>
          </c:tx>
          <c:spPr>
            <a:pattFill prst="dkUpDiag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4:$K$14</c:f>
              <c:numCache>
                <c:formatCode>General</c:formatCode>
                <c:ptCount val="9"/>
                <c:pt idx="7" formatCode="_(* #,##0_);_(* \(#,##0\);_(* &quot;-&quot;??_);_(@_)">
                  <c:v>4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37-42EB-B426-BBBD23CCF841}"/>
            </c:ext>
          </c:extLst>
        </c:ser>
        <c:ser>
          <c:idx val="7"/>
          <c:order val="7"/>
          <c:tx>
            <c:strRef>
              <c:f>Hárok1!$B$15</c:f>
              <c:strCache>
                <c:ptCount val="1"/>
                <c:pt idx="0">
                  <c:v>new LNG regas 2024-26</c:v>
                </c:pt>
              </c:strCache>
            </c:strRef>
          </c:tx>
          <c:spPr>
            <a:pattFill prst="wdUpDiag">
              <a:fgClr>
                <a:schemeClr val="accent1"/>
              </a:fgClr>
              <a:bgClr>
                <a:schemeClr val="accent1">
                  <a:lumMod val="60000"/>
                  <a:lumOff val="40000"/>
                </a:schemeClr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5:$K$15</c:f>
              <c:numCache>
                <c:formatCode>General</c:formatCode>
                <c:ptCount val="9"/>
                <c:pt idx="8" formatCode="_(* #,##0_);_(* \(#,##0\);_(* &quot;-&quot;??_);_(@_)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737-42EB-B426-BBBD23CCF84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606080880"/>
        <c:axId val="606081208"/>
      </c:barChart>
      <c:lineChart>
        <c:grouping val="standard"/>
        <c:varyColors val="0"/>
        <c:ser>
          <c:idx val="8"/>
          <c:order val="8"/>
          <c:tx>
            <c:strRef>
              <c:f>Hárok1!$B$16</c:f>
              <c:strCache>
                <c:ptCount val="1"/>
                <c:pt idx="0">
                  <c:v>avg. Consume 2017-21</c:v>
                </c:pt>
              </c:strCache>
            </c:strRef>
          </c:tx>
          <c:spPr>
            <a:ln w="22225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737-42EB-B426-BBBD23CCF84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737-42EB-B426-BBBD23CCF84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737-42EB-B426-BBBD23CCF84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737-42EB-B426-BBBD23CCF84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737-42EB-B426-BBBD23CCF84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737-42EB-B426-BBBD23CCF84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737-42EB-B426-BBBD23CCF841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737-42EB-B426-BBBD23CCF8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6:$K$16</c:f>
              <c:numCache>
                <c:formatCode>_(* #,##0_);_(* \(#,##0\);_(* "-"??_);_(@_)</c:formatCode>
                <c:ptCount val="9"/>
                <c:pt idx="0">
                  <c:v>580</c:v>
                </c:pt>
                <c:pt idx="1">
                  <c:v>580</c:v>
                </c:pt>
                <c:pt idx="2">
                  <c:v>580</c:v>
                </c:pt>
                <c:pt idx="3">
                  <c:v>580</c:v>
                </c:pt>
                <c:pt idx="4">
                  <c:v>580</c:v>
                </c:pt>
                <c:pt idx="5">
                  <c:v>580</c:v>
                </c:pt>
                <c:pt idx="6">
                  <c:v>580</c:v>
                </c:pt>
                <c:pt idx="7">
                  <c:v>580</c:v>
                </c:pt>
                <c:pt idx="8">
                  <c:v>5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1737-42EB-B426-BBBD23CCF841}"/>
            </c:ext>
          </c:extLst>
        </c:ser>
        <c:ser>
          <c:idx val="9"/>
          <c:order val="9"/>
          <c:tx>
            <c:strRef>
              <c:f>Hárok1!$B$17</c:f>
              <c:strCache>
                <c:ptCount val="1"/>
                <c:pt idx="0">
                  <c:v>est. Consume</c:v>
                </c:pt>
              </c:strCache>
            </c:strRef>
          </c:tx>
          <c:spPr>
            <a:ln w="22225" cap="rnd">
              <a:solidFill>
                <a:srgbClr val="0070C0"/>
              </a:solidFill>
              <a:prstDash val="dash"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737-42EB-B426-BBBD23CCF84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737-42EB-B426-BBBD23CCF84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737-42EB-B426-BBBD23CCF84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737-42EB-B426-BBBD23CCF84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737-42EB-B426-BBBD23CCF841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737-42EB-B426-BBBD23CCF841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737-42EB-B426-BBBD23CCF841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1737-42EB-B426-BBBD23CCF8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C$7:$K$7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FC (Supply excl. RU to EU)</c:v>
                </c:pt>
                <c:pt idx="4">
                  <c:v>max. LNG regas</c:v>
                </c:pt>
                <c:pt idx="5">
                  <c:v>add. LNG after NO and NA rerouting</c:v>
                </c:pt>
                <c:pt idx="6">
                  <c:v>new LNG regas 2022</c:v>
                </c:pt>
                <c:pt idx="7">
                  <c:v>new LNG regas 2023</c:v>
                </c:pt>
                <c:pt idx="8">
                  <c:v>new LNG regas 2024-26</c:v>
                </c:pt>
              </c:strCache>
            </c:strRef>
          </c:cat>
          <c:val>
            <c:numRef>
              <c:f>Hárok1!$C$17:$K$17</c:f>
              <c:numCache>
                <c:formatCode>General</c:formatCode>
                <c:ptCount val="9"/>
                <c:pt idx="0">
                  <c:v>534</c:v>
                </c:pt>
                <c:pt idx="1">
                  <c:v>534</c:v>
                </c:pt>
                <c:pt idx="2">
                  <c:v>534</c:v>
                </c:pt>
                <c:pt idx="3">
                  <c:v>534</c:v>
                </c:pt>
                <c:pt idx="4">
                  <c:v>534</c:v>
                </c:pt>
                <c:pt idx="5">
                  <c:v>534</c:v>
                </c:pt>
                <c:pt idx="6">
                  <c:v>534</c:v>
                </c:pt>
                <c:pt idx="7">
                  <c:v>534</c:v>
                </c:pt>
                <c:pt idx="8">
                  <c:v>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1737-42EB-B426-BBBD23CCF84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06080880"/>
        <c:axId val="606081208"/>
      </c:lineChart>
      <c:catAx>
        <c:axId val="606080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081208"/>
        <c:crosses val="autoZero"/>
        <c:auto val="1"/>
        <c:lblAlgn val="ctr"/>
        <c:lblOffset val="100"/>
        <c:noMultiLvlLbl val="0"/>
      </c:catAx>
      <c:valAx>
        <c:axId val="606081208"/>
        <c:scaling>
          <c:orientation val="minMax"/>
          <c:min val="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cm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080880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188</cdr:x>
      <cdr:y>0.36554</cdr:y>
    </cdr:from>
    <cdr:to>
      <cdr:x>0.26092</cdr:x>
      <cdr:y>0.45518</cdr:y>
    </cdr:to>
    <cdr:sp macro="" textlink="">
      <cdr:nvSpPr>
        <cdr:cNvPr id="2" name="Ovál 1"/>
        <cdr:cNvSpPr/>
      </cdr:nvSpPr>
      <cdr:spPr>
        <a:xfrm xmlns:a="http://schemas.openxmlformats.org/drawingml/2006/main">
          <a:off x="933386" y="869751"/>
          <a:ext cx="216024" cy="213279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38100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sk-SK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6400" cy="496966"/>
          </a:xfrm>
          <a:prstGeom prst="rect">
            <a:avLst/>
          </a:prstGeom>
        </p:spPr>
        <p:txBody>
          <a:bodyPr vert="horz" lIns="93740" tIns="46870" rIns="93740" bIns="46870" rtlCol="0"/>
          <a:lstStyle>
            <a:lvl1pPr algn="l">
              <a:defRPr sz="13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93" y="2"/>
            <a:ext cx="2946400" cy="496966"/>
          </a:xfrm>
          <a:prstGeom prst="rect">
            <a:avLst/>
          </a:prstGeom>
        </p:spPr>
        <p:txBody>
          <a:bodyPr vert="horz" lIns="93740" tIns="46870" rIns="93740" bIns="46870" rtlCol="0"/>
          <a:lstStyle>
            <a:lvl1pPr algn="r">
              <a:defRPr sz="1300"/>
            </a:lvl1pPr>
          </a:lstStyle>
          <a:p>
            <a:fld id="{0B5374D9-241B-4D40-890F-932AD3EB048A}" type="datetimeFigureOut">
              <a:rPr lang="cs-CZ" smtClean="0"/>
              <a:pPr/>
              <a:t>04.10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4" y="9429677"/>
            <a:ext cx="2946400" cy="496965"/>
          </a:xfrm>
          <a:prstGeom prst="rect">
            <a:avLst/>
          </a:prstGeom>
        </p:spPr>
        <p:txBody>
          <a:bodyPr vert="horz" lIns="93740" tIns="46870" rIns="93740" bIns="46870" rtlCol="0" anchor="b"/>
          <a:lstStyle>
            <a:lvl1pPr algn="l">
              <a:defRPr sz="13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93" y="9429677"/>
            <a:ext cx="2946400" cy="496965"/>
          </a:xfrm>
          <a:prstGeom prst="rect">
            <a:avLst/>
          </a:prstGeom>
        </p:spPr>
        <p:txBody>
          <a:bodyPr vert="horz" lIns="93740" tIns="46870" rIns="93740" bIns="46870" rtlCol="0" anchor="b"/>
          <a:lstStyle>
            <a:lvl1pPr algn="r">
              <a:defRPr sz="1300"/>
            </a:lvl1pPr>
          </a:lstStyle>
          <a:p>
            <a:fld id="{44BE8C51-8E09-4CF4-9050-EDD2F8B91C18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6205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0" y="6"/>
            <a:ext cx="2945659" cy="496411"/>
          </a:xfrm>
          <a:prstGeom prst="rect">
            <a:avLst/>
          </a:prstGeom>
        </p:spPr>
        <p:txBody>
          <a:bodyPr vert="horz" lIns="98067" tIns="49034" rIns="98067" bIns="4903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73" y="6"/>
            <a:ext cx="2945659" cy="496411"/>
          </a:xfrm>
          <a:prstGeom prst="rect">
            <a:avLst/>
          </a:prstGeom>
        </p:spPr>
        <p:txBody>
          <a:bodyPr vert="horz" lIns="98067" tIns="49034" rIns="98067" bIns="49034" rtlCol="0"/>
          <a:lstStyle>
            <a:lvl1pPr algn="r">
              <a:defRPr sz="1300"/>
            </a:lvl1pPr>
          </a:lstStyle>
          <a:p>
            <a:fld id="{430AAE28-ED51-4DE0-9559-3E093860706A}" type="datetimeFigureOut">
              <a:rPr lang="en-US" smtClean="0"/>
              <a:pPr/>
              <a:t>10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30250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067" tIns="49034" rIns="98067" bIns="490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26"/>
            <a:ext cx="5438140" cy="4467701"/>
          </a:xfrm>
          <a:prstGeom prst="rect">
            <a:avLst/>
          </a:prstGeom>
        </p:spPr>
        <p:txBody>
          <a:bodyPr vert="horz" lIns="98067" tIns="49034" rIns="98067" bIns="4903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0" y="9430099"/>
            <a:ext cx="2945659" cy="496411"/>
          </a:xfrm>
          <a:prstGeom prst="rect">
            <a:avLst/>
          </a:prstGeom>
        </p:spPr>
        <p:txBody>
          <a:bodyPr vert="horz" lIns="98067" tIns="49034" rIns="98067" bIns="4903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73" y="9430099"/>
            <a:ext cx="2945659" cy="496411"/>
          </a:xfrm>
          <a:prstGeom prst="rect">
            <a:avLst/>
          </a:prstGeom>
        </p:spPr>
        <p:txBody>
          <a:bodyPr vert="horz" lIns="98067" tIns="49034" rIns="98067" bIns="49034" rtlCol="0" anchor="b"/>
          <a:lstStyle>
            <a:lvl1pPr algn="r">
              <a:defRPr sz="1300"/>
            </a:lvl1pPr>
          </a:lstStyle>
          <a:p>
            <a:fld id="{B18289C4-750B-497C-BBD1-7E2B2628F2D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9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285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319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041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332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4469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92075" y="730250"/>
            <a:ext cx="6613525" cy="37211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sz="800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8289C4-750B-497C-BBD1-7E2B2628F2D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702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1.wdp"/><Relationship Id="rId7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microsoft.com/office/2007/relationships/hdphoto" Target="../media/hdphoto4.wdp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microsoft.com/office/2007/relationships/hdphoto" Target="../media/hdphoto1.wdp"/><Relationship Id="rId7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4.gif"/><Relationship Id="rId3" Type="http://schemas.openxmlformats.org/officeDocument/2006/relationships/slideMaster" Target="../slideMasters/slideMaster2.xml"/><Relationship Id="rId7" Type="http://schemas.microsoft.com/office/2007/relationships/hdphoto" Target="../media/hdphoto5.wdp"/><Relationship Id="rId12" Type="http://schemas.microsoft.com/office/2007/relationships/hdphoto" Target="../media/hdphoto6.wdp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0.jpeg"/><Relationship Id="rId11" Type="http://schemas.openxmlformats.org/officeDocument/2006/relationships/image" Target="../media/image13.jpeg"/><Relationship Id="rId5" Type="http://schemas.openxmlformats.org/officeDocument/2006/relationships/image" Target="../media/image1.emf"/><Relationship Id="rId15" Type="http://schemas.openxmlformats.org/officeDocument/2006/relationships/oleObject" Target="../embeddings/oleObject5.bin"/><Relationship Id="rId10" Type="http://schemas.microsoft.com/office/2007/relationships/hdphoto" Target="../media/hdphoto4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jpeg"/><Relationship Id="rId14" Type="http://schemas.openxmlformats.org/officeDocument/2006/relationships/image" Target="../media/image15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17987"/>
            <a:ext cx="11319933" cy="369332"/>
          </a:xfrm>
        </p:spPr>
        <p:txBody>
          <a:bodyPr>
            <a:spAutoFit/>
          </a:bodyPr>
          <a:lstStyle>
            <a:lvl1pPr>
              <a:defRPr lang="en-US" sz="2400" b="0" kern="1200" cap="none" baseline="0" dirty="0" smtClean="0">
                <a:solidFill>
                  <a:srgbClr val="A0073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Přímá spojnice 13"/>
          <p:cNvCxnSpPr/>
          <p:nvPr userDrawn="1"/>
        </p:nvCxnSpPr>
        <p:spPr>
          <a:xfrm>
            <a:off x="0" y="946820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6"/>
          <p:cNvSpPr/>
          <p:nvPr userDrawn="1"/>
        </p:nvSpPr>
        <p:spPr>
          <a:xfrm>
            <a:off x="-2968" y="6649661"/>
            <a:ext cx="1219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31808" y="1412776"/>
            <a:ext cx="11328400" cy="1046440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600"/>
              </a:spcBef>
              <a:buClr>
                <a:srgbClr val="A00730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31989" indent="-179996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611985" indent="-179996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827979" indent="-215995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043974" indent="-215995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24"/>
          <p:cNvSpPr>
            <a:spLocks noGrp="1"/>
          </p:cNvSpPr>
          <p:nvPr>
            <p:ph type="sldNum" sz="quarter" idx="4"/>
          </p:nvPr>
        </p:nvSpPr>
        <p:spPr>
          <a:xfrm>
            <a:off x="11638343" y="668654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800" b="0" smtClean="0">
                <a:solidFill>
                  <a:srgbClr val="A00730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fld id="{C474262C-653D-4E87-99B4-4DACC7FEBCB3}" type="slidenum">
              <a:rPr/>
              <a:pPr/>
              <a:t>‹#›</a:t>
            </a:fld>
            <a:endParaRPr dirty="0"/>
          </a:p>
        </p:txBody>
      </p:sp>
      <p:pic>
        <p:nvPicPr>
          <p:cNvPr id="11" name="Picture 157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8976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371" y="1989150"/>
            <a:ext cx="5664200" cy="307777"/>
          </a:xfrm>
        </p:spPr>
        <p:txBody>
          <a:bodyPr wrap="square" anchor="t">
            <a:spAutoFit/>
          </a:bodyPr>
          <a:lstStyle>
            <a:lvl1pPr algn="l">
              <a:defRPr sz="2000" b="0" cap="none" baseline="0"/>
            </a:lvl1pPr>
          </a:lstStyle>
          <a:p>
            <a:r>
              <a:rPr lang="en-US" dirty="0"/>
              <a:t>Section Title Goes Here</a:t>
            </a:r>
          </a:p>
        </p:txBody>
      </p:sp>
      <p:cxnSp>
        <p:nvCxnSpPr>
          <p:cNvPr id="10" name="Přímá spojnice se šipkou 3"/>
          <p:cNvCxnSpPr>
            <a:cxnSpLocks noChangeShapeType="1"/>
          </p:cNvCxnSpPr>
          <p:nvPr userDrawn="1"/>
        </p:nvCxnSpPr>
        <p:spPr bwMode="auto">
          <a:xfrm>
            <a:off x="6864085" y="4897735"/>
            <a:ext cx="4896544" cy="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Přímá spojnice se šipkou 3"/>
          <p:cNvCxnSpPr>
            <a:cxnSpLocks noChangeShapeType="1"/>
          </p:cNvCxnSpPr>
          <p:nvPr userDrawn="1"/>
        </p:nvCxnSpPr>
        <p:spPr bwMode="auto">
          <a:xfrm>
            <a:off x="2396436" y="5085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Přímá spojnice se šipkou 3"/>
          <p:cNvCxnSpPr>
            <a:cxnSpLocks noChangeShapeType="1"/>
          </p:cNvCxnSpPr>
          <p:nvPr userDrawn="1"/>
        </p:nvCxnSpPr>
        <p:spPr bwMode="auto">
          <a:xfrm>
            <a:off x="5505844" y="5049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Přímá spojnice se šipkou 3"/>
          <p:cNvCxnSpPr>
            <a:cxnSpLocks noChangeShapeType="1"/>
          </p:cNvCxnSpPr>
          <p:nvPr userDrawn="1"/>
        </p:nvCxnSpPr>
        <p:spPr bwMode="auto">
          <a:xfrm>
            <a:off x="7183409" y="49356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Přímá spojnice se šipkou 3"/>
          <p:cNvCxnSpPr>
            <a:cxnSpLocks noChangeShapeType="1"/>
          </p:cNvCxnSpPr>
          <p:nvPr userDrawn="1"/>
        </p:nvCxnSpPr>
        <p:spPr bwMode="auto">
          <a:xfrm>
            <a:off x="9377469" y="49377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" name="Obrázek 1" descr="picture for the front page"/>
          <p:cNvPicPr>
            <a:picLocks noChangeArrowheads="1"/>
          </p:cNvPicPr>
          <p:nvPr userDrawn="1"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043" y="5121328"/>
            <a:ext cx="249600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" descr="http://vungtauoil.com/wp-content/uploads/2013/01/Gazoprojekt-Wins-Feasibility-Study-Tender-for-Slovakia-Poland-Gas-Pipe-1024x716.jpg"/>
          <p:cNvPicPr>
            <a:picLocks noChangeArrowheads="1"/>
          </p:cNvPicPr>
          <p:nvPr userDrawn="1"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29875" y="5121328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" descr="C:\Users\JT8100923\Downloads\EP_Energy_PTAS_013.jpg"/>
          <p:cNvPicPr>
            <a:picLocks noChangeArrowheads="1"/>
          </p:cNvPicPr>
          <p:nvPr userDrawn="1"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039"/>
          <a:stretch/>
        </p:blipFill>
        <p:spPr bwMode="auto">
          <a:xfrm>
            <a:off x="9129875" y="3757820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47" descr="C:\Users\JT8100923\Documents\EPH\_EPH presentations\Presentations\EPH overview\Fotky\IMG_4242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8393" y="3757820"/>
            <a:ext cx="2496000" cy="1254626"/>
          </a:xfrm>
          <a:prstGeom prst="rect">
            <a:avLst/>
          </a:prstGeom>
          <a:noFill/>
          <a:effectLst>
            <a:glow>
              <a:schemeClr val="accent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3842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638002"/>
              </p:ext>
            </p:extLst>
          </p:nvPr>
        </p:nvGraphicFramePr>
        <p:xfrm>
          <a:off x="2119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Picture 5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9" descr="C:\Users\JT8100923\Downloads\EP_Energy_PTAS_013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494" r="13039"/>
          <a:stretch/>
        </p:blipFill>
        <p:spPr bwMode="auto">
          <a:xfrm>
            <a:off x="6110351" y="4202038"/>
            <a:ext cx="6083143" cy="2655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925" name="Picture 645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04" b="6937"/>
          <a:stretch/>
        </p:blipFill>
        <p:spPr bwMode="auto">
          <a:xfrm>
            <a:off x="6" y="4202038"/>
            <a:ext cx="6079223" cy="265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J:\~psg\artwork in progress\!2015\~October\1931892-002_EP Holding_Ekaterina Ivanova\1931892-002_V2 copy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797"/>
          <a:stretch/>
        </p:blipFill>
        <p:spPr bwMode="auto">
          <a:xfrm>
            <a:off x="1492" y="-12090"/>
            <a:ext cx="12191997" cy="2828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Přímá spojnice se šipkou 3"/>
          <p:cNvCxnSpPr>
            <a:cxnSpLocks noChangeShapeType="1"/>
          </p:cNvCxnSpPr>
          <p:nvPr userDrawn="1"/>
        </p:nvCxnSpPr>
        <p:spPr bwMode="auto">
          <a:xfrm>
            <a:off x="0" y="2844492"/>
            <a:ext cx="12192000" cy="0"/>
          </a:xfrm>
          <a:prstGeom prst="straightConnector1">
            <a:avLst/>
          </a:prstGeom>
          <a:noFill/>
          <a:ln w="5715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Connector 4"/>
          <p:cNvCxnSpPr/>
          <p:nvPr userDrawn="1"/>
        </p:nvCxnSpPr>
        <p:spPr>
          <a:xfrm>
            <a:off x="6079223" y="4202038"/>
            <a:ext cx="0" cy="2655962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3"/>
          <p:cNvCxnSpPr>
            <a:cxnSpLocks noChangeShapeType="1"/>
          </p:cNvCxnSpPr>
          <p:nvPr userDrawn="1"/>
        </p:nvCxnSpPr>
        <p:spPr bwMode="auto">
          <a:xfrm>
            <a:off x="1487" y="4202038"/>
            <a:ext cx="12192000" cy="0"/>
          </a:xfrm>
          <a:prstGeom prst="straightConnector1">
            <a:avLst/>
          </a:prstGeom>
          <a:noFill/>
          <a:ln w="5715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383868" y="2993581"/>
            <a:ext cx="5376333" cy="504825"/>
          </a:xfrm>
        </p:spPr>
        <p:txBody>
          <a:bodyPr anchor="ctr">
            <a:noAutofit/>
          </a:bodyPr>
          <a:lstStyle>
            <a:lvl1pPr marL="0" indent="0">
              <a:buNone/>
              <a:defRPr sz="2400" b="1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383868" y="3534234"/>
            <a:ext cx="5376333" cy="504825"/>
          </a:xfrm>
        </p:spPr>
        <p:txBody>
          <a:bodyPr anchor="ctr">
            <a:no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571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17996"/>
            <a:ext cx="11319933" cy="461665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Přímá spojnice 13"/>
          <p:cNvCxnSpPr/>
          <p:nvPr/>
        </p:nvCxnSpPr>
        <p:spPr>
          <a:xfrm>
            <a:off x="0" y="946820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6"/>
          <p:cNvSpPr/>
          <p:nvPr/>
        </p:nvSpPr>
        <p:spPr>
          <a:xfrm>
            <a:off x="-2968" y="6649661"/>
            <a:ext cx="1219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31801" y="1412776"/>
            <a:ext cx="11328400" cy="1046440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600"/>
              </a:spcBef>
              <a:buClr>
                <a:srgbClr val="A00730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31989" indent="-179996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611985" indent="-179996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827979" indent="-215995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043974" indent="-215995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157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Přímá spojnice 13"/>
          <p:cNvCxnSpPr/>
          <p:nvPr userDrawn="1"/>
        </p:nvCxnSpPr>
        <p:spPr>
          <a:xfrm>
            <a:off x="0" y="946820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délník 6"/>
          <p:cNvSpPr/>
          <p:nvPr userDrawn="1"/>
        </p:nvSpPr>
        <p:spPr>
          <a:xfrm>
            <a:off x="-2968" y="6649661"/>
            <a:ext cx="1219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pic>
        <p:nvPicPr>
          <p:cNvPr id="11" name="Picture 157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16669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371" y="1989140"/>
            <a:ext cx="5664200" cy="400110"/>
          </a:xfrm>
        </p:spPr>
        <p:txBody>
          <a:bodyPr wrap="square" anchor="t">
            <a:spAutoFit/>
          </a:bodyPr>
          <a:lstStyle>
            <a:lvl1pPr algn="l">
              <a:defRPr sz="2000" b="0" cap="none" baseline="0"/>
            </a:lvl1pPr>
          </a:lstStyle>
          <a:p>
            <a:r>
              <a:rPr lang="en-US" dirty="0"/>
              <a:t>Section Title Goes Here</a:t>
            </a:r>
          </a:p>
        </p:txBody>
      </p:sp>
      <p:cxnSp>
        <p:nvCxnSpPr>
          <p:cNvPr id="10" name="Přímá spojnice se šipkou 3"/>
          <p:cNvCxnSpPr>
            <a:cxnSpLocks noChangeShapeType="1"/>
          </p:cNvCxnSpPr>
          <p:nvPr/>
        </p:nvCxnSpPr>
        <p:spPr bwMode="auto">
          <a:xfrm>
            <a:off x="6864085" y="4897735"/>
            <a:ext cx="4896544" cy="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Přímá spojnice se šipkou 3"/>
          <p:cNvCxnSpPr>
            <a:cxnSpLocks noChangeShapeType="1"/>
          </p:cNvCxnSpPr>
          <p:nvPr/>
        </p:nvCxnSpPr>
        <p:spPr bwMode="auto">
          <a:xfrm>
            <a:off x="2396436" y="5085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Přímá spojnice se šipkou 3"/>
          <p:cNvCxnSpPr>
            <a:cxnSpLocks noChangeShapeType="1"/>
          </p:cNvCxnSpPr>
          <p:nvPr/>
        </p:nvCxnSpPr>
        <p:spPr bwMode="auto">
          <a:xfrm>
            <a:off x="5505844" y="5049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Přímá spojnice se šipkou 3"/>
          <p:cNvCxnSpPr>
            <a:cxnSpLocks noChangeShapeType="1"/>
          </p:cNvCxnSpPr>
          <p:nvPr/>
        </p:nvCxnSpPr>
        <p:spPr bwMode="auto">
          <a:xfrm>
            <a:off x="7183409" y="49356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Přímá spojnice se šipkou 3"/>
          <p:cNvCxnSpPr>
            <a:cxnSpLocks noChangeShapeType="1"/>
          </p:cNvCxnSpPr>
          <p:nvPr/>
        </p:nvCxnSpPr>
        <p:spPr bwMode="auto">
          <a:xfrm>
            <a:off x="9377469" y="49377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" name="Obrázek 1" descr="picture for the front page"/>
          <p:cNvPicPr>
            <a:picLocks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043" y="5121328"/>
            <a:ext cx="249600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" descr="http://vungtauoil.com/wp-content/uploads/2013/01/Gazoprojekt-Wins-Feasibility-Study-Tender-for-Slovakia-Poland-Gas-Pipe-1024x716.jpg"/>
          <p:cNvPicPr>
            <a:picLocks noChangeArrowheads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29875" y="5121328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" descr="C:\Users\JT8100923\Downloads\EP_Energy_PTAS_013.jpg"/>
          <p:cNvPicPr>
            <a:picLocks noChangeArrowheads="1"/>
          </p:cNvPicPr>
          <p:nvPr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039"/>
          <a:stretch/>
        </p:blipFill>
        <p:spPr bwMode="auto">
          <a:xfrm>
            <a:off x="9129875" y="3757820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47" descr="C:\Users\JT8100923\Documents\EPH\_EPH presentations\Presentations\EPH overview\Fotky\IMG_4242.jp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8393" y="3757820"/>
            <a:ext cx="2496000" cy="1254626"/>
          </a:xfrm>
          <a:prstGeom prst="rect">
            <a:avLst/>
          </a:prstGeom>
          <a:noFill/>
          <a:effectLst>
            <a:glow>
              <a:schemeClr val="accent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57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Přímá spojnice se šipkou 3"/>
          <p:cNvCxnSpPr>
            <a:cxnSpLocks noChangeShapeType="1"/>
          </p:cNvCxnSpPr>
          <p:nvPr userDrawn="1"/>
        </p:nvCxnSpPr>
        <p:spPr bwMode="auto">
          <a:xfrm>
            <a:off x="6864085" y="4897735"/>
            <a:ext cx="4896544" cy="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Přímá spojnice se šipkou 3"/>
          <p:cNvCxnSpPr>
            <a:cxnSpLocks noChangeShapeType="1"/>
          </p:cNvCxnSpPr>
          <p:nvPr userDrawn="1"/>
        </p:nvCxnSpPr>
        <p:spPr bwMode="auto">
          <a:xfrm>
            <a:off x="2396436" y="5085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Přímá spojnice se šipkou 3"/>
          <p:cNvCxnSpPr>
            <a:cxnSpLocks noChangeShapeType="1"/>
          </p:cNvCxnSpPr>
          <p:nvPr userDrawn="1"/>
        </p:nvCxnSpPr>
        <p:spPr bwMode="auto">
          <a:xfrm>
            <a:off x="5505844" y="5049230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Přímá spojnice se šipkou 3"/>
          <p:cNvCxnSpPr>
            <a:cxnSpLocks noChangeShapeType="1"/>
          </p:cNvCxnSpPr>
          <p:nvPr userDrawn="1"/>
        </p:nvCxnSpPr>
        <p:spPr bwMode="auto">
          <a:xfrm>
            <a:off x="7183409" y="49356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Přímá spojnice se šipkou 3"/>
          <p:cNvCxnSpPr>
            <a:cxnSpLocks noChangeShapeType="1"/>
          </p:cNvCxnSpPr>
          <p:nvPr userDrawn="1"/>
        </p:nvCxnSpPr>
        <p:spPr bwMode="auto">
          <a:xfrm>
            <a:off x="9377469" y="4937724"/>
            <a:ext cx="0" cy="1080000"/>
          </a:xfrm>
          <a:prstGeom prst="straightConnector1">
            <a:avLst/>
          </a:prstGeom>
          <a:noFill/>
          <a:ln w="76200" algn="ctr">
            <a:solidFill>
              <a:srgbClr val="FFFFFF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6" name="Obrázek 1" descr="picture for the front page"/>
          <p:cNvPicPr>
            <a:picLocks noChangeArrowheads="1"/>
          </p:cNvPicPr>
          <p:nvPr userDrawn="1"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043" y="5121328"/>
            <a:ext cx="249600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0" descr="http://vungtauoil.com/wp-content/uploads/2013/01/Gazoprojekt-Wins-Feasibility-Study-Tender-for-Slovakia-Poland-Gas-Pipe-1024x716.jpg"/>
          <p:cNvPicPr>
            <a:picLocks noChangeArrowheads="1"/>
          </p:cNvPicPr>
          <p:nvPr userDrawn="1"/>
        </p:nvPicPr>
        <p:blipFill rotWithShape="1"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29875" y="5121328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9" descr="C:\Users\JT8100923\Downloads\EP_Energy_PTAS_013.jpg"/>
          <p:cNvPicPr>
            <a:picLocks noChangeArrowheads="1"/>
          </p:cNvPicPr>
          <p:nvPr userDrawn="1"/>
        </p:nvPicPr>
        <p:blipFill rotWithShape="1"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039"/>
          <a:stretch/>
        </p:blipFill>
        <p:spPr bwMode="auto">
          <a:xfrm>
            <a:off x="9129875" y="3757820"/>
            <a:ext cx="2496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47" descr="C:\Users\JT8100923\Documents\EPH\_EPH presentations\Presentations\EPH overview\Fotky\IMG_4242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8393" y="3757820"/>
            <a:ext cx="2496000" cy="1254626"/>
          </a:xfrm>
          <a:prstGeom prst="rect">
            <a:avLst/>
          </a:prstGeom>
          <a:noFill/>
          <a:effectLst>
            <a:glow>
              <a:schemeClr val="accent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57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2561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167578"/>
              </p:ext>
            </p:extLst>
          </p:nvPr>
        </p:nvGraphicFramePr>
        <p:xfrm>
          <a:off x="2119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Obrázek 1" descr="picture for the front p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3969237"/>
            <a:ext cx="6464988" cy="289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0" descr="http://vungtauoil.com/wp-content/uploads/2013/01/Gazoprojekt-Wins-Feasibility-Study-Tender-for-Slovakia-Poland-Gas-Pipe-1024x716.jpg"/>
          <p:cNvPicPr>
            <a:picLocks noChangeAspect="1" noChangeArrowheads="1"/>
          </p:cNvPicPr>
          <p:nvPr/>
        </p:nvPicPr>
        <p:blipFill rotWithShape="1"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4775" y="3439758"/>
            <a:ext cx="6107228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" descr="C:\Users\JT8100923\Downloads\EP_Energy_PTAS_013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039"/>
          <a:stretch/>
        </p:blipFill>
        <p:spPr bwMode="auto">
          <a:xfrm>
            <a:off x="6110353" y="0"/>
            <a:ext cx="6083143" cy="2780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423" name="Picture 247" descr="C:\Users\JT8100923\Documents\EPH\_EPH presentations\Presentations\EPH overview\Fotky\IMG_4242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741"/>
          <a:stretch/>
        </p:blipFill>
        <p:spPr bwMode="auto">
          <a:xfrm>
            <a:off x="1496" y="-17998"/>
            <a:ext cx="6108857" cy="281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61768" y="-17998"/>
            <a:ext cx="48000" cy="691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4" y="3044810"/>
            <a:ext cx="4847861" cy="456224"/>
          </a:xfrm>
          <a:prstGeom prst="rect">
            <a:avLst/>
          </a:prstGeom>
        </p:spPr>
      </p:pic>
      <p:sp>
        <p:nvSpPr>
          <p:cNvPr id="15" name="Obdélník 14"/>
          <p:cNvSpPr/>
          <p:nvPr/>
        </p:nvSpPr>
        <p:spPr bwMode="auto">
          <a:xfrm>
            <a:off x="0" y="2600934"/>
            <a:ext cx="12192000" cy="13681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cs-CZ" sz="1200" b="1" kern="0" dirty="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18" name="Přímá spojnice se šipkou 3"/>
          <p:cNvCxnSpPr>
            <a:cxnSpLocks noChangeShapeType="1"/>
          </p:cNvCxnSpPr>
          <p:nvPr/>
        </p:nvCxnSpPr>
        <p:spPr bwMode="auto">
          <a:xfrm>
            <a:off x="0" y="2600921"/>
            <a:ext cx="12192000" cy="0"/>
          </a:xfrm>
          <a:prstGeom prst="straightConnector1">
            <a:avLst/>
          </a:prstGeom>
          <a:noFill/>
          <a:ln w="3810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Přímá spojnice se šipkou 3"/>
          <p:cNvCxnSpPr>
            <a:cxnSpLocks noChangeShapeType="1"/>
          </p:cNvCxnSpPr>
          <p:nvPr/>
        </p:nvCxnSpPr>
        <p:spPr bwMode="auto">
          <a:xfrm>
            <a:off x="1487" y="3958467"/>
            <a:ext cx="12192000" cy="0"/>
          </a:xfrm>
          <a:prstGeom prst="straightConnector1">
            <a:avLst/>
          </a:prstGeom>
          <a:noFill/>
          <a:ln w="3810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Zástupný symbol pro text 2"/>
          <p:cNvSpPr>
            <a:spLocks noGrp="1"/>
          </p:cNvSpPr>
          <p:nvPr>
            <p:ph type="body" sz="quarter" idx="10" hasCustomPrompt="1"/>
          </p:nvPr>
        </p:nvSpPr>
        <p:spPr>
          <a:xfrm>
            <a:off x="6402636" y="2898478"/>
            <a:ext cx="5357565" cy="388764"/>
          </a:xfrm>
        </p:spPr>
        <p:txBody>
          <a:bodyPr/>
          <a:lstStyle>
            <a:lvl1pPr marL="0" indent="0">
              <a:buNone/>
              <a:defRPr sz="1600" b="1"/>
            </a:lvl1pPr>
          </a:lstStyle>
          <a:p>
            <a:pPr lvl="0"/>
            <a:r>
              <a:rPr lang="cs-CZ" dirty="0"/>
              <a:t> Title</a:t>
            </a:r>
          </a:p>
        </p:txBody>
      </p:sp>
      <p:sp>
        <p:nvSpPr>
          <p:cNvPr id="26" name="Zástupný symbol pro text 2"/>
          <p:cNvSpPr>
            <a:spLocks noGrp="1"/>
          </p:cNvSpPr>
          <p:nvPr>
            <p:ph type="body" sz="quarter" idx="11" hasCustomPrompt="1"/>
          </p:nvPr>
        </p:nvSpPr>
        <p:spPr>
          <a:xfrm>
            <a:off x="6402636" y="3305994"/>
            <a:ext cx="5357565" cy="388764"/>
          </a:xfrm>
        </p:spPr>
        <p:txBody>
          <a:bodyPr>
            <a:normAutofit/>
          </a:bodyPr>
          <a:lstStyle>
            <a:lvl1pPr marL="0" indent="0">
              <a:buNone/>
              <a:defRPr sz="1600" b="0"/>
            </a:lvl1pPr>
          </a:lstStyle>
          <a:p>
            <a:pPr lvl="0"/>
            <a:r>
              <a:rPr lang="cs-CZ" dirty="0"/>
              <a:t> Date</a:t>
            </a:r>
          </a:p>
        </p:txBody>
      </p:sp>
      <p:pic>
        <p:nvPicPr>
          <p:cNvPr id="21" name="Picture 157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8" y="3044821"/>
            <a:ext cx="4032017" cy="50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231350"/>
              </p:ext>
            </p:extLst>
          </p:nvPr>
        </p:nvGraphicFramePr>
        <p:xfrm>
          <a:off x="2119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Obrázek 1" descr="picture for the front pag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3969237"/>
            <a:ext cx="6464988" cy="289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0" descr="http://vungtauoil.com/wp-content/uploads/2013/01/Gazoprojekt-Wins-Feasibility-Study-Tender-for-Slovakia-Poland-Gas-Pipe-1024x716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4775" y="3439758"/>
            <a:ext cx="6107228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 descr="C:\Users\JT8100923\Downloads\EP_Energy_PTAS_013.jpg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3039"/>
          <a:stretch/>
        </p:blipFill>
        <p:spPr bwMode="auto">
          <a:xfrm>
            <a:off x="6110353" y="0"/>
            <a:ext cx="6083143" cy="2780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47" descr="C:\Users\JT8100923\Documents\EPH\_EPH presentations\Presentations\EPH overview\Fotky\IMG_4242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741"/>
          <a:stretch/>
        </p:blipFill>
        <p:spPr bwMode="auto">
          <a:xfrm>
            <a:off x="1496" y="-17998"/>
            <a:ext cx="6108857" cy="281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 userDrawn="1"/>
        </p:nvSpPr>
        <p:spPr>
          <a:xfrm>
            <a:off x="6061768" y="-17998"/>
            <a:ext cx="48000" cy="691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4" y="3044810"/>
            <a:ext cx="4847861" cy="456224"/>
          </a:xfrm>
          <a:prstGeom prst="rect">
            <a:avLst/>
          </a:prstGeom>
        </p:spPr>
      </p:pic>
      <p:sp>
        <p:nvSpPr>
          <p:cNvPr id="30" name="Obdélník 14"/>
          <p:cNvSpPr/>
          <p:nvPr userDrawn="1"/>
        </p:nvSpPr>
        <p:spPr bwMode="auto">
          <a:xfrm>
            <a:off x="0" y="2600934"/>
            <a:ext cx="12192000" cy="13681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cs-CZ" sz="1200" b="1" kern="0" dirty="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31" name="Přímá spojnice se šipkou 3"/>
          <p:cNvCxnSpPr>
            <a:cxnSpLocks noChangeShapeType="1"/>
          </p:cNvCxnSpPr>
          <p:nvPr userDrawn="1"/>
        </p:nvCxnSpPr>
        <p:spPr bwMode="auto">
          <a:xfrm>
            <a:off x="0" y="2600921"/>
            <a:ext cx="12192000" cy="0"/>
          </a:xfrm>
          <a:prstGeom prst="straightConnector1">
            <a:avLst/>
          </a:prstGeom>
          <a:noFill/>
          <a:ln w="3810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Přímá spojnice se šipkou 3"/>
          <p:cNvCxnSpPr>
            <a:cxnSpLocks noChangeShapeType="1"/>
          </p:cNvCxnSpPr>
          <p:nvPr userDrawn="1"/>
        </p:nvCxnSpPr>
        <p:spPr bwMode="auto">
          <a:xfrm>
            <a:off x="1487" y="3958467"/>
            <a:ext cx="12192000" cy="0"/>
          </a:xfrm>
          <a:prstGeom prst="straightConnector1">
            <a:avLst/>
          </a:prstGeom>
          <a:noFill/>
          <a:ln w="38100" algn="ctr">
            <a:solidFill>
              <a:srgbClr val="981E32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3" name="Picture 157"/>
          <p:cNvPicPr>
            <a:picLocks noChangeAspect="1" noChangeArrowheads="1"/>
          </p:cNvPicPr>
          <p:nvPr userDrawn="1"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8" y="3044821"/>
            <a:ext cx="4032017" cy="50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2344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17996"/>
            <a:ext cx="11319933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Přímá spojnice 13"/>
          <p:cNvCxnSpPr/>
          <p:nvPr userDrawn="1"/>
        </p:nvCxnSpPr>
        <p:spPr>
          <a:xfrm>
            <a:off x="0" y="946820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6"/>
          <p:cNvSpPr/>
          <p:nvPr userDrawn="1"/>
        </p:nvSpPr>
        <p:spPr>
          <a:xfrm>
            <a:off x="-2968" y="6649661"/>
            <a:ext cx="1219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31808" y="1412776"/>
            <a:ext cx="11328400" cy="1046440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600"/>
              </a:spcBef>
              <a:buClr>
                <a:srgbClr val="A00730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31989" indent="-179996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611985" indent="-179996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827979" indent="-215995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043974" indent="-215995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8" name="Picture 157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1" y="6686778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7737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17996"/>
            <a:ext cx="11319933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Přímá spojnice 13"/>
          <p:cNvCxnSpPr/>
          <p:nvPr userDrawn="1"/>
        </p:nvCxnSpPr>
        <p:spPr>
          <a:xfrm>
            <a:off x="0" y="946820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6"/>
          <p:cNvSpPr/>
          <p:nvPr userDrawn="1"/>
        </p:nvSpPr>
        <p:spPr>
          <a:xfrm>
            <a:off x="-2968" y="6649661"/>
            <a:ext cx="12192000" cy="2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prstClr val="black">
                  <a:lumMod val="75000"/>
                </a:prstClr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31808" y="1412776"/>
            <a:ext cx="11328400" cy="1046440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600"/>
              </a:spcBef>
              <a:buClr>
                <a:srgbClr val="A00730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31989" indent="-179996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611985" indent="-179996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827979" indent="-215995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043974" indent="-215995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8" name="Picture 157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11" y="6686778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6718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08250219"/>
              </p:ext>
            </p:extLst>
          </p:nvPr>
        </p:nvGraphicFramePr>
        <p:xfrm>
          <a:off x="2159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6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9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0" i="0" baseline="0" dirty="0" err="1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8" y="323133"/>
            <a:ext cx="1132882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cap="none" baseline="0" dirty="0"/>
              <a:t>Click to edit master slide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8" y="1412783"/>
            <a:ext cx="11328400" cy="4713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431989" lvl="1" indent="-179996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marL="611985" lvl="2" indent="-179996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</a:pPr>
            <a:r>
              <a:rPr lang="en-US" dirty="0"/>
              <a:t>Third level</a:t>
            </a:r>
          </a:p>
          <a:p>
            <a:pPr marL="827979" lvl="3" indent="-215995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6" name="Slide Number Placeholder 24"/>
          <p:cNvSpPr>
            <a:spLocks noGrp="1"/>
          </p:cNvSpPr>
          <p:nvPr>
            <p:ph type="sldNum" sz="quarter" idx="4"/>
          </p:nvPr>
        </p:nvSpPr>
        <p:spPr>
          <a:xfrm>
            <a:off x="11638343" y="668654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lang="en-US" sz="800" b="0" smtClean="0">
                <a:solidFill>
                  <a:srgbClr val="A00730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fld id="{C474262C-653D-4E87-99B4-4DACC7FEBCB3}" type="slidenum">
              <a:rPr/>
              <a:pPr/>
              <a:t>‹#›</a:t>
            </a:fld>
            <a:endParaRPr dirty="0"/>
          </a:p>
        </p:txBody>
      </p:sp>
      <p:pic>
        <p:nvPicPr>
          <p:cNvPr id="7" name="Picture 157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6686676"/>
            <a:ext cx="1247708" cy="156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3478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5" r:id="rId1"/>
    <p:sldLayoutId id="2147485666" r:id="rId2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lang="en-US" sz="2400" b="0" kern="1200" cap="none" baseline="0" dirty="0">
          <a:solidFill>
            <a:srgbClr val="A00730"/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1pPr>
    </p:titleStyle>
    <p:bodyStyle>
      <a:lvl1pPr marL="268281" indent="-269993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sz="1400" kern="1200" baseline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1pPr>
      <a:lvl2pPr marL="431989" indent="-179996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lang="en-US" sz="1200" kern="120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2pPr>
      <a:lvl3pPr marL="611985" indent="-179996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lang="en-US" sz="1100" kern="120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3pPr>
      <a:lvl4pPr marL="827979" indent="-228594" algn="l" defTabSz="914377" rtl="0" eaLnBrk="1" latinLnBrk="0" hangingPunct="1">
        <a:spcBef>
          <a:spcPts val="600"/>
        </a:spcBef>
        <a:buClr>
          <a:srgbClr val="881E33"/>
        </a:buClr>
        <a:buFont typeface="Wingdings" pitchFamily="2" charset="2"/>
        <a:buChar char="q"/>
        <a:defRPr lang="en-US" sz="1000" kern="1200" dirty="0" smtClean="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Tahoma" pitchFamily="34" charset="0"/>
          <a:cs typeface="Arial" pitchFamily="34" charset="0"/>
        </a:defRPr>
      </a:lvl4pPr>
      <a:lvl5pPr marL="815380" indent="0" algn="l" defTabSz="914377" rtl="0" eaLnBrk="1" latinLnBrk="0" hangingPunct="1">
        <a:spcBef>
          <a:spcPts val="600"/>
        </a:spcBef>
        <a:buClr>
          <a:srgbClr val="881E33"/>
        </a:buClr>
        <a:buFont typeface="Wingdings" pitchFamily="2" charset="2"/>
        <a:buNone/>
        <a:defRPr sz="900" kern="1200">
          <a:solidFill>
            <a:srgbClr val="5D6167"/>
          </a:solidFill>
          <a:latin typeface="Arial" pitchFamily="34" charset="0"/>
          <a:ea typeface="Tahoma" pitchFamily="34" charset="0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23781733"/>
              </p:ext>
            </p:extLst>
          </p:nvPr>
        </p:nvGraphicFramePr>
        <p:xfrm>
          <a:off x="2119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11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0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dĺžnik 14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0" i="0" baseline="0" dirty="0" err="1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801" y="332668"/>
            <a:ext cx="11328400" cy="461665"/>
          </a:xfrm>
          <a:prstGeom prst="rect">
            <a:avLst/>
          </a:prstGeom>
        </p:spPr>
        <p:txBody>
          <a:bodyPr vert="horz" wrap="square" lIns="0" tIns="45720" rIns="0" bIns="45720" rtlCol="0" anchor="ctr">
            <a:spAutoFit/>
          </a:bodyPr>
          <a:lstStyle/>
          <a:p>
            <a:r>
              <a:rPr lang="en-US" cap="none" baseline="0" dirty="0"/>
              <a:t>Click to edit master slide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1" y="1412783"/>
            <a:ext cx="11328400" cy="4713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431989" lvl="1" indent="-179996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</a:pPr>
            <a:r>
              <a:rPr lang="en-US" dirty="0"/>
              <a:t>Second level</a:t>
            </a:r>
          </a:p>
          <a:p>
            <a:pPr marL="611985" lvl="2" indent="-179996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</a:pPr>
            <a:r>
              <a:rPr lang="en-US" dirty="0"/>
              <a:t>Third level</a:t>
            </a:r>
          </a:p>
          <a:p>
            <a:pPr marL="827979" lvl="3" indent="-215995" algn="l" defTabSz="914377" rtl="0" eaLnBrk="1" latinLnBrk="0" hangingPunct="1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</a:pPr>
            <a:r>
              <a:rPr lang="en-US" dirty="0"/>
              <a:t>Fourth level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-1872885" y="-15297"/>
            <a:ext cx="1139552" cy="6102685"/>
            <a:chOff x="-1404664" y="-15297"/>
            <a:chExt cx="854664" cy="6102685"/>
          </a:xfrm>
        </p:grpSpPr>
        <p:sp>
          <p:nvSpPr>
            <p:cNvPr id="7" name="Rectangle 6"/>
            <p:cNvSpPr/>
            <p:nvPr/>
          </p:nvSpPr>
          <p:spPr>
            <a:xfrm rot="5400000">
              <a:off x="-1324332" y="1449710"/>
              <a:ext cx="694001" cy="854663"/>
            </a:xfrm>
            <a:prstGeom prst="rect">
              <a:avLst/>
            </a:prstGeom>
            <a:solidFill>
              <a:srgbClr val="C524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197/36/77</a:t>
              </a:r>
            </a:p>
          </p:txBody>
        </p:sp>
        <p:sp>
          <p:nvSpPr>
            <p:cNvPr id="8" name="Rectangle 7"/>
            <p:cNvSpPr/>
            <p:nvPr/>
          </p:nvSpPr>
          <p:spPr>
            <a:xfrm rot="5400000">
              <a:off x="-1324333" y="677041"/>
              <a:ext cx="694001" cy="854663"/>
            </a:xfrm>
            <a:prstGeom prst="rect">
              <a:avLst/>
            </a:prstGeom>
            <a:solidFill>
              <a:srgbClr val="3E3E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62/62/62</a:t>
              </a:r>
            </a:p>
          </p:txBody>
        </p:sp>
        <p:sp>
          <p:nvSpPr>
            <p:cNvPr id="9" name="Rectangle 8"/>
            <p:cNvSpPr/>
            <p:nvPr/>
          </p:nvSpPr>
          <p:spPr>
            <a:xfrm rot="5400000">
              <a:off x="-1324332" y="2995048"/>
              <a:ext cx="694001" cy="854663"/>
            </a:xfrm>
            <a:prstGeom prst="rect">
              <a:avLst/>
            </a:prstGeom>
            <a:solidFill>
              <a:srgbClr val="F597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245/151/175</a:t>
              </a:r>
            </a:p>
          </p:txBody>
        </p:sp>
        <p:sp>
          <p:nvSpPr>
            <p:cNvPr id="10" name="Rectangle 9"/>
            <p:cNvSpPr/>
            <p:nvPr/>
          </p:nvSpPr>
          <p:spPr>
            <a:xfrm rot="5400000">
              <a:off x="-1324333" y="-95628"/>
              <a:ext cx="694001" cy="854663"/>
            </a:xfrm>
            <a:prstGeom prst="rect">
              <a:avLst/>
            </a:prstGeom>
            <a:solidFill>
              <a:srgbClr val="7115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113/21/45</a:t>
              </a:r>
            </a:p>
          </p:txBody>
        </p:sp>
        <p:sp>
          <p:nvSpPr>
            <p:cNvPr id="11" name="Rectangle 10"/>
            <p:cNvSpPr/>
            <p:nvPr/>
          </p:nvSpPr>
          <p:spPr>
            <a:xfrm rot="5400000">
              <a:off x="-1324332" y="4540386"/>
              <a:ext cx="694001" cy="854663"/>
            </a:xfrm>
            <a:prstGeom prst="rect">
              <a:avLst/>
            </a:prstGeom>
            <a:solidFill>
              <a:srgbClr val="009C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0/156/195</a:t>
              </a:r>
            </a:p>
          </p:txBody>
        </p:sp>
        <p:sp>
          <p:nvSpPr>
            <p:cNvPr id="12" name="Rectangle 11"/>
            <p:cNvSpPr/>
            <p:nvPr/>
          </p:nvSpPr>
          <p:spPr>
            <a:xfrm rot="5400000">
              <a:off x="-1324332" y="2222379"/>
              <a:ext cx="694001" cy="85466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166/166/166</a:t>
              </a:r>
            </a:p>
          </p:txBody>
        </p:sp>
        <p:sp>
          <p:nvSpPr>
            <p:cNvPr id="13" name="Rectangle 12"/>
            <p:cNvSpPr/>
            <p:nvPr/>
          </p:nvSpPr>
          <p:spPr>
            <a:xfrm rot="5400000">
              <a:off x="-1324332" y="3767717"/>
              <a:ext cx="694001" cy="854663"/>
            </a:xfrm>
            <a:prstGeom prst="rect">
              <a:avLst/>
            </a:prstGeom>
            <a:solidFill>
              <a:srgbClr val="EEEF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black"/>
                  </a:solidFill>
                </a:rPr>
                <a:t>238/239/239</a:t>
              </a:r>
            </a:p>
          </p:txBody>
        </p:sp>
        <p:sp>
          <p:nvSpPr>
            <p:cNvPr id="14" name="Rectangle 13"/>
            <p:cNvSpPr/>
            <p:nvPr/>
          </p:nvSpPr>
          <p:spPr>
            <a:xfrm rot="5400000">
              <a:off x="-1324332" y="5313056"/>
              <a:ext cx="694001" cy="854663"/>
            </a:xfrm>
            <a:prstGeom prst="rect">
              <a:avLst/>
            </a:prstGeom>
            <a:solidFill>
              <a:srgbClr val="9BE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800" b="1" dirty="0">
                  <a:solidFill>
                    <a:prstClr val="white"/>
                  </a:solidFill>
                </a:rPr>
                <a:t>155/236/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0983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47" r:id="rId1"/>
    <p:sldLayoutId id="2147487148" r:id="rId2"/>
    <p:sldLayoutId id="2147487149" r:id="rId3"/>
    <p:sldLayoutId id="2147487150" r:id="rId4"/>
    <p:sldLayoutId id="2147487151" r:id="rId5"/>
    <p:sldLayoutId id="2147487152" r:id="rId6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 cap="none" baseline="0">
          <a:solidFill>
            <a:srgbClr val="A00730"/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1pPr>
    </p:titleStyle>
    <p:bodyStyle>
      <a:lvl1pPr marL="268281" indent="-269993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sz="1400" kern="1200" baseline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1pPr>
      <a:lvl2pPr marL="431989" indent="-179996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lang="en-US" sz="1200" kern="120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2pPr>
      <a:lvl3pPr marL="611985" indent="-179996" algn="l" defTabSz="914377" rtl="0" eaLnBrk="1" latinLnBrk="0" hangingPunct="1">
        <a:spcBef>
          <a:spcPts val="600"/>
        </a:spcBef>
        <a:buClr>
          <a:srgbClr val="881E33"/>
        </a:buClr>
        <a:buFont typeface="Wingdings" panose="05000000000000000000" pitchFamily="2" charset="2"/>
        <a:buChar char="q"/>
        <a:defRPr lang="en-US" sz="1100" kern="120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Tahoma" pitchFamily="34" charset="0"/>
          <a:cs typeface="Arial" panose="020B0604020202020204" pitchFamily="34" charset="0"/>
        </a:defRPr>
      </a:lvl3pPr>
      <a:lvl4pPr marL="827979" indent="-228594" algn="l" defTabSz="914377" rtl="0" eaLnBrk="1" latinLnBrk="0" hangingPunct="1">
        <a:spcBef>
          <a:spcPts val="600"/>
        </a:spcBef>
        <a:buClr>
          <a:srgbClr val="881E33"/>
        </a:buClr>
        <a:buFont typeface="Wingdings" pitchFamily="2" charset="2"/>
        <a:buChar char="q"/>
        <a:defRPr lang="en-US" sz="1000" kern="1200" dirty="0" smtClean="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Tahoma" pitchFamily="34" charset="0"/>
          <a:cs typeface="Arial" pitchFamily="34" charset="0"/>
        </a:defRPr>
      </a:lvl4pPr>
      <a:lvl5pPr marL="815380" indent="0" algn="l" defTabSz="914377" rtl="0" eaLnBrk="1" latinLnBrk="0" hangingPunct="1">
        <a:spcBef>
          <a:spcPts val="600"/>
        </a:spcBef>
        <a:buClr>
          <a:srgbClr val="881E33"/>
        </a:buClr>
        <a:buFont typeface="Wingdings" pitchFamily="2" charset="2"/>
        <a:buNone/>
        <a:defRPr sz="900" kern="1200">
          <a:solidFill>
            <a:srgbClr val="5D6167"/>
          </a:solidFill>
          <a:latin typeface="Arial" pitchFamily="34" charset="0"/>
          <a:ea typeface="Tahoma" pitchFamily="34" charset="0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12" Type="http://schemas.openxmlformats.org/officeDocument/2006/relationships/image" Target="../media/image24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11" Type="http://schemas.openxmlformats.org/officeDocument/2006/relationships/image" Target="../media/image23.jpeg"/><Relationship Id="rId5" Type="http://schemas.openxmlformats.org/officeDocument/2006/relationships/image" Target="../media/image17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emf"/><Relationship Id="rId11" Type="http://schemas.openxmlformats.org/officeDocument/2006/relationships/chart" Target="../charts/chart4.xml"/><Relationship Id="rId5" Type="http://schemas.openxmlformats.org/officeDocument/2006/relationships/oleObject" Target="../embeddings/oleObject7.bin"/><Relationship Id="rId10" Type="http://schemas.openxmlformats.org/officeDocument/2006/relationships/chart" Target="../charts/chart3.xml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4B87F65-B091-832B-1EBD-1F041D278C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9760" y="-5462"/>
            <a:ext cx="8892479" cy="666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749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dĺžnik 11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Nadpis 2"/>
          <p:cNvSpPr>
            <a:spLocks noGrp="1"/>
          </p:cNvSpPr>
          <p:nvPr>
            <p:ph type="title"/>
          </p:nvPr>
        </p:nvSpPr>
        <p:spPr>
          <a:xfrm>
            <a:off x="1847852" y="317987"/>
            <a:ext cx="8489951" cy="369332"/>
          </a:xfrm>
        </p:spPr>
        <p:txBody>
          <a:bodyPr/>
          <a:lstStyle/>
          <a:p>
            <a:r>
              <a:rPr lang="en-US" dirty="0"/>
              <a:t>Introduction</a:t>
            </a:r>
            <a:endParaRPr lang="sk-SK" dirty="0"/>
          </a:p>
        </p:txBody>
      </p:sp>
      <p:pic>
        <p:nvPicPr>
          <p:cNvPr id="37" name="Picture 37" descr="Linkedin Logo | The most famous brands and company logos in the world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901" y="5527649"/>
            <a:ext cx="889620" cy="500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BlokTextu 37"/>
          <p:cNvSpPr txBox="1"/>
          <p:nvPr/>
        </p:nvSpPr>
        <p:spPr>
          <a:xfrm>
            <a:off x="1991546" y="6028058"/>
            <a:ext cx="2250616" cy="276999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en-US" sz="1200" dirty="0">
                <a:latin typeface="Arial"/>
              </a:rPr>
              <a:t>r</a:t>
            </a:r>
            <a:r>
              <a:rPr lang="sk-SK" sz="1200" dirty="0" err="1">
                <a:latin typeface="Arial"/>
              </a:rPr>
              <a:t>oman</a:t>
            </a:r>
            <a:r>
              <a:rPr lang="en-US" sz="1200" dirty="0">
                <a:latin typeface="Arial"/>
              </a:rPr>
              <a:t>.</a:t>
            </a:r>
            <a:r>
              <a:rPr lang="en-US" sz="1200" dirty="0" err="1">
                <a:latin typeface="Arial"/>
              </a:rPr>
              <a:t>filipoiu@spp-distribucia.sk</a:t>
            </a:r>
            <a:endParaRPr lang="sk-SK" sz="1200" dirty="0">
              <a:latin typeface="Arial"/>
            </a:endParaRPr>
          </a:p>
        </p:txBody>
      </p:sp>
      <p:sp>
        <p:nvSpPr>
          <p:cNvPr id="39" name="Obdĺžnik 38"/>
          <p:cNvSpPr/>
          <p:nvPr/>
        </p:nvSpPr>
        <p:spPr>
          <a:xfrm>
            <a:off x="6950069" y="602806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k-SK" sz="1200" dirty="0" err="1"/>
              <a:t>https</a:t>
            </a:r>
            <a:r>
              <a:rPr lang="sk-SK" sz="1200" dirty="0"/>
              <a:t>://</a:t>
            </a:r>
            <a:r>
              <a:rPr lang="sk-SK" sz="1200" dirty="0" err="1"/>
              <a:t>www.linkedin.com</a:t>
            </a:r>
            <a:r>
              <a:rPr lang="sk-SK" sz="1200" dirty="0"/>
              <a:t>/in/roman-</a:t>
            </a:r>
            <a:r>
              <a:rPr lang="sk-SK" sz="1200" dirty="0" err="1"/>
              <a:t>filipoiu</a:t>
            </a:r>
            <a:r>
              <a:rPr lang="sk-SK" sz="1200" dirty="0"/>
              <a:t>/</a:t>
            </a:r>
          </a:p>
        </p:txBody>
      </p:sp>
      <p:pic>
        <p:nvPicPr>
          <p:cNvPr id="40" name="Picture 2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8572711" y="1820367"/>
            <a:ext cx="1765091" cy="540547"/>
          </a:xfrm>
          <a:prstGeom prst="rect">
            <a:avLst/>
          </a:prstGeom>
          <a:solidFill>
            <a:srgbClr val="A00730"/>
          </a:solidFill>
          <a:ln w="9525" cmpd="sng">
            <a:noFill/>
            <a:prstDash val="solid"/>
            <a:miter lim="800000"/>
            <a:headEnd/>
            <a:tailEnd/>
          </a:ln>
          <a:effectLst/>
        </p:spPr>
      </p:pic>
      <p:pic>
        <p:nvPicPr>
          <p:cNvPr id="41" name="Picture 40" descr="Hlásenie porúch distribučnej spoločnosti | SS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240" y="3570554"/>
            <a:ext cx="1255679" cy="59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Group 17"/>
          <p:cNvGrpSpPr/>
          <p:nvPr/>
        </p:nvGrpSpPr>
        <p:grpSpPr bwMode="gray">
          <a:xfrm>
            <a:off x="3826804" y="1169993"/>
            <a:ext cx="6511007" cy="368194"/>
            <a:chOff x="317500" y="1089977"/>
            <a:chExt cx="3922623" cy="238769"/>
          </a:xfrm>
        </p:grpSpPr>
        <p:sp>
          <p:nvSpPr>
            <p:cNvPr id="43" name="TextBox 18"/>
            <p:cNvSpPr txBox="1"/>
            <p:nvPr/>
          </p:nvSpPr>
          <p:spPr bwMode="gray">
            <a:xfrm>
              <a:off x="317500" y="1089977"/>
              <a:ext cx="3922623" cy="199589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baseline="0">
                  <a:solidFill>
                    <a:srgbClr val="FFFFFF"/>
                  </a:solidFill>
                  <a:latin typeface="Arial"/>
                  <a:ea typeface="LF_Kai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>
                <a:defRPr/>
              </a:pPr>
              <a:r>
                <a:rPr lang="en-US" sz="2000" kern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man Filipoiu</a:t>
              </a:r>
            </a:p>
          </p:txBody>
        </p:sp>
        <p:cxnSp>
          <p:nvCxnSpPr>
            <p:cNvPr id="44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sp>
        <p:nvSpPr>
          <p:cNvPr id="45" name="BlokTextu 44"/>
          <p:cNvSpPr txBox="1"/>
          <p:nvPr/>
        </p:nvSpPr>
        <p:spPr>
          <a:xfrm>
            <a:off x="3833465" y="1761014"/>
            <a:ext cx="3715248" cy="338554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en-US" sz="1600" dirty="0">
                <a:latin typeface="Arial"/>
              </a:rPr>
              <a:t>Director of Finance and regulatory affairs</a:t>
            </a:r>
            <a:endParaRPr lang="sk-SK" sz="1600" dirty="0">
              <a:latin typeface="Arial"/>
            </a:endParaRPr>
          </a:p>
        </p:txBody>
      </p:sp>
      <p:sp>
        <p:nvSpPr>
          <p:cNvPr id="46" name="BlokTextu 45"/>
          <p:cNvSpPr txBox="1"/>
          <p:nvPr/>
        </p:nvSpPr>
        <p:spPr>
          <a:xfrm>
            <a:off x="3826803" y="3489362"/>
            <a:ext cx="2981585" cy="338554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en-US" sz="1600" dirty="0">
                <a:latin typeface="Arial"/>
              </a:rPr>
              <a:t>Member of the board of directors</a:t>
            </a:r>
            <a:endParaRPr lang="sk-SK" sz="1600" dirty="0">
              <a:latin typeface="Arial"/>
            </a:endParaRPr>
          </a:p>
        </p:txBody>
      </p:sp>
      <p:pic>
        <p:nvPicPr>
          <p:cNvPr id="47" name="Picture 43" descr="Free icons - Free vector icons - Free SVG, PSD, PNG, EPS, Ai &amp; Icon Font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634" y="5527641"/>
            <a:ext cx="500411" cy="500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BlokTextu 47"/>
          <p:cNvSpPr txBox="1"/>
          <p:nvPr/>
        </p:nvSpPr>
        <p:spPr>
          <a:xfrm>
            <a:off x="3833466" y="2043193"/>
            <a:ext cx="4206280" cy="1477328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sk-SK" sz="1600" dirty="0" err="1">
                <a:latin typeface="Arial"/>
              </a:rPr>
              <a:t>SPP</a:t>
            </a:r>
            <a:r>
              <a:rPr lang="sk-SK" sz="1600" dirty="0">
                <a:latin typeface="Arial"/>
              </a:rPr>
              <a:t> – distribúcia, </a:t>
            </a:r>
            <a:r>
              <a:rPr lang="sk-SK" sz="1600" dirty="0" err="1">
                <a:latin typeface="Arial"/>
              </a:rPr>
              <a:t>a.s</a:t>
            </a:r>
            <a:r>
              <a:rPr lang="sk-SK" sz="1600" dirty="0">
                <a:latin typeface="Arial"/>
              </a:rPr>
              <a:t>.</a:t>
            </a:r>
          </a:p>
          <a:p>
            <a:endParaRPr lang="sk-SK" sz="16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latin typeface="Arial"/>
              </a:rPr>
              <a:t>Operating more than 33 thousand km of pipelines</a:t>
            </a:r>
            <a:endParaRPr lang="sk-SK" sz="14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latin typeface="Arial"/>
              </a:rPr>
              <a:t>More than 1500 employees</a:t>
            </a:r>
            <a:endParaRPr lang="sk-SK" sz="14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sk-SK" sz="1400" dirty="0" err="1">
                <a:latin typeface="Arial"/>
              </a:rPr>
              <a:t>EBITDA</a:t>
            </a:r>
            <a:r>
              <a:rPr lang="sk-SK" sz="1400" dirty="0">
                <a:latin typeface="Arial"/>
              </a:rPr>
              <a:t> </a:t>
            </a:r>
            <a:r>
              <a:rPr lang="en-US" sz="1400" dirty="0">
                <a:latin typeface="Arial"/>
              </a:rPr>
              <a:t>~</a:t>
            </a:r>
            <a:r>
              <a:rPr lang="sk-SK" sz="1400" dirty="0">
                <a:latin typeface="Arial"/>
              </a:rPr>
              <a:t>330 mil. EUR</a:t>
            </a:r>
          </a:p>
          <a:p>
            <a:endParaRPr lang="sk-SK" sz="1600" dirty="0">
              <a:latin typeface="Arial"/>
            </a:endParaRPr>
          </a:p>
        </p:txBody>
      </p:sp>
      <p:sp>
        <p:nvSpPr>
          <p:cNvPr id="49" name="BlokTextu 48"/>
          <p:cNvSpPr txBox="1"/>
          <p:nvPr/>
        </p:nvSpPr>
        <p:spPr>
          <a:xfrm>
            <a:off x="3826793" y="3760280"/>
            <a:ext cx="4613442" cy="1477328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sk-SK" sz="1600" dirty="0">
                <a:latin typeface="Arial"/>
              </a:rPr>
              <a:t>Stredoslovenská distribučná, </a:t>
            </a:r>
            <a:r>
              <a:rPr lang="sk-SK" sz="1600" dirty="0" err="1">
                <a:latin typeface="Arial"/>
              </a:rPr>
              <a:t>a.s</a:t>
            </a:r>
            <a:r>
              <a:rPr lang="sk-SK" sz="1600" dirty="0">
                <a:latin typeface="Arial"/>
              </a:rPr>
              <a:t>.</a:t>
            </a:r>
          </a:p>
          <a:p>
            <a:endParaRPr lang="sk-SK" sz="16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latin typeface="Arial"/>
              </a:rPr>
              <a:t>Operates more than 34 thousand km of power network</a:t>
            </a:r>
            <a:endParaRPr lang="sk-SK" sz="14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latin typeface="Arial"/>
              </a:rPr>
              <a:t>More than 1300 employees</a:t>
            </a:r>
            <a:endParaRPr lang="sk-SK" sz="1400" dirty="0">
              <a:latin typeface="Arial"/>
            </a:endParaRPr>
          </a:p>
          <a:p>
            <a:pPr marL="285744" indent="-285744">
              <a:buClr>
                <a:srgbClr val="71152D"/>
              </a:buClr>
              <a:buFont typeface="Wingdings" panose="05000000000000000000" pitchFamily="2" charset="2"/>
              <a:buChar char="q"/>
            </a:pPr>
            <a:r>
              <a:rPr lang="sk-SK" sz="1400" dirty="0" err="1">
                <a:latin typeface="Arial"/>
              </a:rPr>
              <a:t>EBITDA</a:t>
            </a:r>
            <a:r>
              <a:rPr lang="sk-SK" sz="1400" dirty="0">
                <a:latin typeface="Arial"/>
              </a:rPr>
              <a:t> </a:t>
            </a:r>
            <a:r>
              <a:rPr lang="en-US" sz="1400" dirty="0">
                <a:latin typeface="Arial"/>
              </a:rPr>
              <a:t>~</a:t>
            </a:r>
            <a:r>
              <a:rPr lang="sk-SK" sz="1400" dirty="0">
                <a:latin typeface="Arial"/>
              </a:rPr>
              <a:t>200 mil. EUR</a:t>
            </a:r>
          </a:p>
          <a:p>
            <a:endParaRPr lang="sk-SK" sz="1600" dirty="0">
              <a:latin typeface="Arial"/>
            </a:endParaRPr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19000" y="5050255"/>
            <a:ext cx="1704975" cy="447675"/>
          </a:xfrm>
          <a:prstGeom prst="rect">
            <a:avLst/>
          </a:prstGeom>
        </p:spPr>
      </p:pic>
      <p:pic>
        <p:nvPicPr>
          <p:cNvPr id="1659935" name="Picture 31" descr="SPP – distribúcia Servis, s.r.o.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894" y="5051879"/>
            <a:ext cx="1566531" cy="446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lokTextu 6"/>
          <p:cNvSpPr txBox="1"/>
          <p:nvPr/>
        </p:nvSpPr>
        <p:spPr>
          <a:xfrm>
            <a:off x="7746359" y="5050247"/>
            <a:ext cx="2742139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pt-BR" sz="2000" cap="small" dirty="0">
                <a:solidFill>
                  <a:srgbClr val="FFFF00"/>
                </a:solidFill>
                <a:latin typeface="Gill Sans Ultra Bold Condensed" panose="020B0A06020104020203" pitchFamily="34" charset="0"/>
              </a:rPr>
              <a:t>Plynárenská metrológia</a:t>
            </a:r>
            <a:endParaRPr lang="sk-SK" sz="2000" cap="small" dirty="0">
              <a:solidFill>
                <a:srgbClr val="FFFF00"/>
              </a:solidFill>
              <a:latin typeface="Gill Sans Ultra Bold Condensed" panose="020B0A06020104020203" pitchFamily="34" charset="0"/>
            </a:endParaRPr>
          </a:p>
        </p:txBody>
      </p:sp>
      <p:pic>
        <p:nvPicPr>
          <p:cNvPr id="1659940" name="Picture 36" descr="profile image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059243"/>
            <a:ext cx="1872208" cy="187220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8127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47852" y="364153"/>
            <a:ext cx="8489951" cy="369332"/>
          </a:xfrm>
        </p:spPr>
        <p:txBody>
          <a:bodyPr/>
          <a:lstStyle/>
          <a:p>
            <a:r>
              <a:rPr lang="sk-SK" dirty="0"/>
              <a:t>EU </a:t>
            </a:r>
            <a:r>
              <a:rPr lang="sk-SK" dirty="0" err="1"/>
              <a:t>electricity</a:t>
            </a:r>
            <a:r>
              <a:rPr lang="sk-SK" dirty="0"/>
              <a:t> </a:t>
            </a:r>
            <a:r>
              <a:rPr lang="sk-SK" dirty="0" err="1"/>
              <a:t>production</a:t>
            </a:r>
            <a:r>
              <a:rPr lang="sk-SK" dirty="0"/>
              <a:t> by </a:t>
            </a:r>
            <a:r>
              <a:rPr lang="sk-SK" dirty="0" err="1"/>
              <a:t>source</a:t>
            </a:r>
            <a:endParaRPr lang="en-GB" dirty="0"/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grpSp>
        <p:nvGrpSpPr>
          <p:cNvPr id="7" name="Group 17"/>
          <p:cNvGrpSpPr/>
          <p:nvPr/>
        </p:nvGrpSpPr>
        <p:grpSpPr bwMode="gray">
          <a:xfrm>
            <a:off x="1862271" y="1146034"/>
            <a:ext cx="8482211" cy="251899"/>
            <a:chOff x="317500" y="1165393"/>
            <a:chExt cx="3922623" cy="163353"/>
          </a:xfrm>
        </p:grpSpPr>
        <p:sp>
          <p:nvSpPr>
            <p:cNvPr id="9" name="TextBox 18"/>
            <p:cNvSpPr txBox="1"/>
            <p:nvPr/>
          </p:nvSpPr>
          <p:spPr bwMode="gray">
            <a:xfrm>
              <a:off x="317500" y="1165393"/>
              <a:ext cx="3922623" cy="119753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kern="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LF_Kai"/>
                  <a:cs typeface="Arial" panose="020B0604020202020204" pitchFamily="34" charset="0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sk-SK" dirty="0"/>
                <a:t>EU </a:t>
              </a:r>
              <a:r>
                <a:rPr lang="sk-SK" dirty="0" err="1"/>
                <a:t>is</a:t>
              </a:r>
              <a:r>
                <a:rPr lang="sk-SK" dirty="0"/>
                <a:t> </a:t>
              </a:r>
              <a:r>
                <a:rPr lang="sk-SK" dirty="0" err="1"/>
                <a:t>producing</a:t>
              </a:r>
              <a:r>
                <a:rPr lang="sk-SK" dirty="0"/>
                <a:t> </a:t>
              </a:r>
              <a:r>
                <a:rPr lang="sk-SK" dirty="0" err="1"/>
                <a:t>stable</a:t>
              </a:r>
              <a:r>
                <a:rPr lang="sk-SK" dirty="0"/>
                <a:t> 3 </a:t>
              </a:r>
              <a:r>
                <a:rPr lang="sk-SK" dirty="0" err="1"/>
                <a:t>ths</a:t>
              </a:r>
              <a:r>
                <a:rPr lang="sk-SK" dirty="0"/>
                <a:t> </a:t>
              </a:r>
              <a:r>
                <a:rPr lang="sk-SK" dirty="0" err="1"/>
                <a:t>TWh</a:t>
              </a:r>
              <a:r>
                <a:rPr lang="sk-SK" dirty="0"/>
                <a:t> of </a:t>
              </a:r>
              <a:r>
                <a:rPr lang="sk-SK" dirty="0" err="1"/>
                <a:t>energy</a:t>
              </a:r>
              <a:r>
                <a:rPr lang="sk-SK" dirty="0"/>
                <a:t> per </a:t>
              </a:r>
              <a:r>
                <a:rPr lang="sk-SK" dirty="0" err="1"/>
                <a:t>year</a:t>
              </a:r>
              <a:endParaRPr lang="en-GB" dirty="0"/>
            </a:p>
          </p:txBody>
        </p:sp>
        <p:cxnSp>
          <p:nvCxnSpPr>
            <p:cNvPr id="10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sp>
        <p:nvSpPr>
          <p:cNvPr id="11" name="Zástupný objekt pre obsah 3"/>
          <p:cNvSpPr txBox="1">
            <a:spLocks/>
          </p:cNvSpPr>
          <p:nvPr/>
        </p:nvSpPr>
        <p:spPr>
          <a:xfrm>
            <a:off x="1841822" y="4944825"/>
            <a:ext cx="8703597" cy="661720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268288" indent="-27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anose="05000000000000000000" pitchFamily="2" charset="2"/>
              <a:buChar char="q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  <a:lvl2pPr marL="43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2pPr>
            <a:lvl3pPr marL="61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 lang="en-US"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3pPr>
            <a:lvl4pPr marL="828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lang="en-US"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4pPr>
            <a:lvl5pPr marL="1044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600" dirty="0" err="1"/>
              <a:t>The</a:t>
            </a:r>
            <a:r>
              <a:rPr lang="sk-SK" sz="1600" dirty="0"/>
              <a:t> </a:t>
            </a:r>
            <a:r>
              <a:rPr lang="sk-SK" sz="1600" dirty="0" err="1"/>
              <a:t>general</a:t>
            </a:r>
            <a:r>
              <a:rPr lang="sk-SK" sz="1600" dirty="0"/>
              <a:t> </a:t>
            </a:r>
            <a:r>
              <a:rPr lang="sk-SK" sz="1600" dirty="0" err="1"/>
              <a:t>policy</a:t>
            </a:r>
            <a:r>
              <a:rPr lang="sk-SK" sz="1600" dirty="0"/>
              <a:t> of EU </a:t>
            </a:r>
            <a:r>
              <a:rPr lang="sk-SK" sz="1600" dirty="0" err="1"/>
              <a:t>is</a:t>
            </a:r>
            <a:r>
              <a:rPr lang="sk-SK" sz="1600" dirty="0"/>
              <a:t> to </a:t>
            </a:r>
            <a:r>
              <a:rPr lang="sk-SK" sz="1600" dirty="0" err="1"/>
              <a:t>turn</a:t>
            </a:r>
            <a:r>
              <a:rPr lang="sk-SK" sz="1600" dirty="0"/>
              <a:t> </a:t>
            </a:r>
            <a:r>
              <a:rPr lang="sk-SK" sz="1600" dirty="0" err="1"/>
              <a:t>from</a:t>
            </a:r>
            <a:r>
              <a:rPr lang="sk-SK" sz="1600" dirty="0"/>
              <a:t> </a:t>
            </a:r>
            <a:r>
              <a:rPr lang="sk-SK" sz="1600" dirty="0" err="1"/>
              <a:t>fossil</a:t>
            </a:r>
            <a:r>
              <a:rPr lang="sk-SK" sz="1600" dirty="0"/>
              <a:t> </a:t>
            </a:r>
            <a:r>
              <a:rPr lang="sk-SK" sz="1600" dirty="0" err="1"/>
              <a:t>fuels</a:t>
            </a:r>
            <a:r>
              <a:rPr lang="sk-SK" sz="1600" dirty="0"/>
              <a:t> to </a:t>
            </a:r>
            <a:r>
              <a:rPr lang="sk-SK" sz="1600" dirty="0" err="1"/>
              <a:t>renewable</a:t>
            </a:r>
            <a:r>
              <a:rPr lang="sk-SK" sz="1600" dirty="0"/>
              <a:t> </a:t>
            </a:r>
            <a:r>
              <a:rPr lang="sk-SK" sz="1600" dirty="0" err="1"/>
              <a:t>sources</a:t>
            </a:r>
            <a:endParaRPr lang="sk-SK" sz="1600" dirty="0"/>
          </a:p>
          <a:p>
            <a:r>
              <a:rPr lang="sk-SK" sz="1600" dirty="0"/>
              <a:t>At </a:t>
            </a:r>
            <a:r>
              <a:rPr lang="sk-SK" sz="1600" dirty="0" err="1"/>
              <a:t>the</a:t>
            </a:r>
            <a:r>
              <a:rPr lang="sk-SK" sz="1600" dirty="0"/>
              <a:t> moment, </a:t>
            </a:r>
            <a:r>
              <a:rPr lang="sk-SK" sz="1600" dirty="0" err="1"/>
              <a:t>nuclear</a:t>
            </a:r>
            <a:r>
              <a:rPr lang="sk-SK" sz="1600" dirty="0"/>
              <a:t> </a:t>
            </a:r>
            <a:r>
              <a:rPr lang="sk-SK" sz="1600" dirty="0" err="1"/>
              <a:t>is</a:t>
            </a:r>
            <a:r>
              <a:rPr lang="sk-SK" sz="1600" dirty="0"/>
              <a:t> </a:t>
            </a:r>
            <a:r>
              <a:rPr lang="sk-SK" sz="1600" dirty="0" err="1"/>
              <a:t>considered</a:t>
            </a:r>
            <a:r>
              <a:rPr lang="sk-SK" sz="1600" dirty="0"/>
              <a:t> a </a:t>
            </a:r>
            <a:r>
              <a:rPr lang="sk-SK" sz="1600" dirty="0" err="1"/>
              <a:t>clean</a:t>
            </a:r>
            <a:r>
              <a:rPr lang="sk-SK" sz="1600" dirty="0"/>
              <a:t> </a:t>
            </a:r>
            <a:r>
              <a:rPr lang="sk-SK" sz="1600" dirty="0" err="1"/>
              <a:t>fuel</a:t>
            </a:r>
            <a:r>
              <a:rPr lang="sk-SK" sz="1600" dirty="0"/>
              <a:t>; </a:t>
            </a:r>
            <a:r>
              <a:rPr lang="sk-SK" sz="1600" dirty="0" err="1"/>
              <a:t>natural</a:t>
            </a:r>
            <a:r>
              <a:rPr lang="sk-SK" sz="1600" dirty="0"/>
              <a:t> </a:t>
            </a:r>
            <a:r>
              <a:rPr lang="sk-SK" sz="1600" dirty="0" err="1"/>
              <a:t>gas</a:t>
            </a:r>
            <a:r>
              <a:rPr lang="sk-SK" sz="1600" dirty="0"/>
              <a:t> </a:t>
            </a:r>
            <a:r>
              <a:rPr lang="sk-SK" sz="1600" dirty="0" err="1"/>
              <a:t>is</a:t>
            </a:r>
            <a:r>
              <a:rPr lang="sk-SK" sz="1600" dirty="0"/>
              <a:t> a </a:t>
            </a:r>
            <a:r>
              <a:rPr lang="sk-SK" sz="1600" dirty="0" err="1"/>
              <a:t>transitory</a:t>
            </a:r>
            <a:r>
              <a:rPr lang="sk-SK" sz="1600" dirty="0"/>
              <a:t> </a:t>
            </a:r>
            <a:r>
              <a:rPr lang="sk-SK" sz="1600" dirty="0" err="1"/>
              <a:t>fuesl</a:t>
            </a:r>
            <a:endParaRPr lang="sk-SK" sz="1600" dirty="0"/>
          </a:p>
        </p:txBody>
      </p:sp>
      <p:pic>
        <p:nvPicPr>
          <p:cNvPr id="13" name="Obrázok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3512" y="1511966"/>
            <a:ext cx="4680520" cy="3213929"/>
          </a:xfrm>
          <a:prstGeom prst="rect">
            <a:avLst/>
          </a:prstGeom>
        </p:spPr>
      </p:pic>
      <p:pic>
        <p:nvPicPr>
          <p:cNvPr id="2" name="Obrázok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5970" y="1549624"/>
            <a:ext cx="4858973" cy="281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107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2013" y="1803080"/>
            <a:ext cx="8841624" cy="4464496"/>
          </a:xfrm>
          <a:prstGeom prst="rect">
            <a:avLst/>
          </a:prstGeom>
        </p:spPr>
      </p:pic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47852" y="364153"/>
            <a:ext cx="8489951" cy="369332"/>
          </a:xfrm>
        </p:spPr>
        <p:txBody>
          <a:bodyPr/>
          <a:lstStyle/>
          <a:p>
            <a:r>
              <a:rPr lang="sk-SK" dirty="0"/>
              <a:t>EU </a:t>
            </a:r>
            <a:r>
              <a:rPr lang="sk-SK" dirty="0" err="1"/>
              <a:t>electricity</a:t>
            </a:r>
            <a:r>
              <a:rPr lang="sk-SK" dirty="0"/>
              <a:t> </a:t>
            </a:r>
            <a:r>
              <a:rPr lang="sk-SK" dirty="0" err="1"/>
              <a:t>production</a:t>
            </a:r>
            <a:r>
              <a:rPr lang="sk-SK" dirty="0"/>
              <a:t> by </a:t>
            </a:r>
            <a:r>
              <a:rPr lang="sk-SK" dirty="0" err="1"/>
              <a:t>source</a:t>
            </a:r>
            <a:endParaRPr lang="en-GB" dirty="0"/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grpSp>
        <p:nvGrpSpPr>
          <p:cNvPr id="7" name="Group 17"/>
          <p:cNvGrpSpPr/>
          <p:nvPr/>
        </p:nvGrpSpPr>
        <p:grpSpPr bwMode="gray">
          <a:xfrm>
            <a:off x="1862271" y="1146034"/>
            <a:ext cx="8482211" cy="251899"/>
            <a:chOff x="317500" y="1165393"/>
            <a:chExt cx="3922623" cy="163353"/>
          </a:xfrm>
        </p:grpSpPr>
        <p:sp>
          <p:nvSpPr>
            <p:cNvPr id="9" name="TextBox 18"/>
            <p:cNvSpPr txBox="1"/>
            <p:nvPr/>
          </p:nvSpPr>
          <p:spPr bwMode="gray">
            <a:xfrm>
              <a:off x="317500" y="1165393"/>
              <a:ext cx="3922623" cy="119753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kern="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LF_Kai"/>
                  <a:cs typeface="Arial" panose="020B0604020202020204" pitchFamily="34" charset="0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sk-SK" dirty="0"/>
                <a:t>Net </a:t>
              </a:r>
              <a:r>
                <a:rPr lang="sk-SK" dirty="0" err="1"/>
                <a:t>installed</a:t>
              </a:r>
              <a:r>
                <a:rPr lang="sk-SK" dirty="0"/>
                <a:t> </a:t>
              </a:r>
              <a:r>
                <a:rPr lang="sk-SK" dirty="0" err="1"/>
                <a:t>electricity</a:t>
              </a:r>
              <a:r>
                <a:rPr lang="sk-SK" dirty="0"/>
                <a:t> </a:t>
              </a:r>
              <a:r>
                <a:rPr lang="sk-SK" dirty="0" err="1"/>
                <a:t>generation</a:t>
              </a:r>
              <a:r>
                <a:rPr lang="sk-SK" dirty="0"/>
                <a:t> </a:t>
              </a:r>
              <a:r>
                <a:rPr lang="sk-SK" dirty="0" err="1"/>
                <a:t>capacity</a:t>
              </a:r>
              <a:r>
                <a:rPr lang="sk-SK" dirty="0"/>
                <a:t> in Europe in 2021</a:t>
              </a:r>
              <a:endParaRPr lang="en-GB" dirty="0"/>
            </a:p>
          </p:txBody>
        </p:sp>
        <p:cxnSp>
          <p:nvCxnSpPr>
            <p:cNvPr id="10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sp>
        <p:nvSpPr>
          <p:cNvPr id="17" name="Pravá zložená zátvorka 16"/>
          <p:cNvSpPr/>
          <p:nvPr/>
        </p:nvSpPr>
        <p:spPr>
          <a:xfrm rot="16200000">
            <a:off x="3999384" y="542101"/>
            <a:ext cx="448839" cy="331236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9" name="Pravá zložená zátvorka 18"/>
          <p:cNvSpPr/>
          <p:nvPr/>
        </p:nvSpPr>
        <p:spPr>
          <a:xfrm rot="16200000">
            <a:off x="7322407" y="513560"/>
            <a:ext cx="427512" cy="33123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0" name="Pravá zložená zátvorka 19"/>
          <p:cNvSpPr/>
          <p:nvPr/>
        </p:nvSpPr>
        <p:spPr>
          <a:xfrm rot="16200000">
            <a:off x="9579428" y="1586781"/>
            <a:ext cx="377960" cy="11521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1" name="BlokTextu 20"/>
          <p:cNvSpPr txBox="1"/>
          <p:nvPr/>
        </p:nvSpPr>
        <p:spPr>
          <a:xfrm>
            <a:off x="3762940" y="1602009"/>
            <a:ext cx="921727" cy="338554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sk-SK" sz="1600" dirty="0">
                <a:latin typeface="Arial"/>
              </a:rPr>
              <a:t>Base-</a:t>
            </a:r>
            <a:r>
              <a:rPr lang="sk-SK" sz="1600" dirty="0" err="1">
                <a:latin typeface="Arial"/>
              </a:rPr>
              <a:t>load</a:t>
            </a:r>
            <a:endParaRPr lang="sk-SK" sz="1600" dirty="0">
              <a:latin typeface="Arial"/>
            </a:endParaRPr>
          </a:p>
        </p:txBody>
      </p:sp>
      <p:sp>
        <p:nvSpPr>
          <p:cNvPr id="22" name="BlokTextu 21"/>
          <p:cNvSpPr txBox="1"/>
          <p:nvPr/>
        </p:nvSpPr>
        <p:spPr>
          <a:xfrm>
            <a:off x="5519947" y="1617423"/>
            <a:ext cx="3868047" cy="338554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sk-SK" sz="1600" dirty="0">
                <a:latin typeface="Arial"/>
              </a:rPr>
              <a:t>Flexibility </a:t>
            </a:r>
            <a:r>
              <a:rPr lang="sk-SK" sz="1600" dirty="0" err="1">
                <a:latin typeface="Arial"/>
              </a:rPr>
              <a:t>including</a:t>
            </a:r>
            <a:r>
              <a:rPr lang="sk-SK" sz="1600" dirty="0">
                <a:latin typeface="Arial"/>
              </a:rPr>
              <a:t> </a:t>
            </a:r>
            <a:r>
              <a:rPr lang="sk-SK" sz="1600" dirty="0" err="1">
                <a:latin typeface="Arial"/>
              </a:rPr>
              <a:t>predictable</a:t>
            </a:r>
            <a:r>
              <a:rPr lang="sk-SK" sz="1600" dirty="0">
                <a:latin typeface="Arial"/>
              </a:rPr>
              <a:t> </a:t>
            </a:r>
            <a:r>
              <a:rPr lang="sk-SK" sz="1600" dirty="0" err="1">
                <a:latin typeface="Arial"/>
              </a:rPr>
              <a:t>renewables</a:t>
            </a:r>
            <a:endParaRPr lang="sk-SK" sz="1600" dirty="0">
              <a:latin typeface="Arial"/>
            </a:endParaRPr>
          </a:p>
        </p:txBody>
      </p:sp>
      <p:sp>
        <p:nvSpPr>
          <p:cNvPr id="23" name="BlokTextu 22"/>
          <p:cNvSpPr txBox="1"/>
          <p:nvPr/>
        </p:nvSpPr>
        <p:spPr>
          <a:xfrm>
            <a:off x="9552397" y="1603181"/>
            <a:ext cx="419987" cy="338554"/>
          </a:xfrm>
          <a:prstGeom prst="rect">
            <a:avLst/>
          </a:prstGeom>
        </p:spPr>
        <p:txBody>
          <a:bodyPr vert="horz" wrap="none" lIns="0" tIns="45720" rIns="0" bIns="45720" rtlCol="0">
            <a:spAutoFit/>
          </a:bodyPr>
          <a:lstStyle/>
          <a:p>
            <a:r>
              <a:rPr lang="sk-SK" sz="1600" dirty="0" err="1">
                <a:latin typeface="Arial"/>
              </a:rPr>
              <a:t>RES</a:t>
            </a:r>
            <a:endParaRPr lang="sk-SK" sz="1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9001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47852" y="364153"/>
            <a:ext cx="8489951" cy="369332"/>
          </a:xfrm>
        </p:spPr>
        <p:txBody>
          <a:bodyPr/>
          <a:lstStyle/>
          <a:p>
            <a:r>
              <a:rPr lang="sk-SK" dirty="0" err="1"/>
              <a:t>Electricity</a:t>
            </a:r>
            <a:r>
              <a:rPr lang="sk-SK" dirty="0"/>
              <a:t> </a:t>
            </a:r>
            <a:r>
              <a:rPr lang="sk-SK" dirty="0" err="1"/>
              <a:t>price</a:t>
            </a:r>
            <a:r>
              <a:rPr lang="sk-SK" dirty="0"/>
              <a:t> </a:t>
            </a:r>
            <a:r>
              <a:rPr lang="sk-SK" dirty="0" err="1"/>
              <a:t>peak</a:t>
            </a:r>
            <a:r>
              <a:rPr lang="sk-SK" dirty="0"/>
              <a:t> in </a:t>
            </a:r>
            <a:r>
              <a:rPr lang="sk-SK" dirty="0" err="1"/>
              <a:t>summer</a:t>
            </a:r>
            <a:r>
              <a:rPr lang="sk-SK" dirty="0"/>
              <a:t> 2022</a:t>
            </a:r>
            <a:endParaRPr lang="en-GB" dirty="0"/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grpSp>
        <p:nvGrpSpPr>
          <p:cNvPr id="7" name="Group 17"/>
          <p:cNvGrpSpPr/>
          <p:nvPr/>
        </p:nvGrpSpPr>
        <p:grpSpPr bwMode="gray">
          <a:xfrm>
            <a:off x="1862263" y="1121121"/>
            <a:ext cx="4414996" cy="276792"/>
            <a:chOff x="317500" y="1197758"/>
            <a:chExt cx="3922623" cy="130988"/>
          </a:xfrm>
        </p:grpSpPr>
        <p:sp>
          <p:nvSpPr>
            <p:cNvPr id="9" name="TextBox 18"/>
            <p:cNvSpPr txBox="1"/>
            <p:nvPr/>
          </p:nvSpPr>
          <p:spPr bwMode="gray">
            <a:xfrm>
              <a:off x="317500" y="1197758"/>
              <a:ext cx="3922623" cy="87391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kern="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LF_Kai"/>
                  <a:cs typeface="Arial" panose="020B0604020202020204" pitchFamily="34" charset="0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sk-SK" dirty="0" err="1"/>
                <a:t>French</a:t>
              </a:r>
              <a:r>
                <a:rPr lang="sk-SK" dirty="0"/>
                <a:t> </a:t>
              </a:r>
              <a:r>
                <a:rPr lang="sk-SK" dirty="0" err="1"/>
                <a:t>nuclear</a:t>
              </a:r>
              <a:r>
                <a:rPr lang="sk-SK" dirty="0"/>
                <a:t> </a:t>
              </a:r>
              <a:r>
                <a:rPr lang="sk-SK" dirty="0" err="1"/>
                <a:t>production</a:t>
              </a:r>
              <a:r>
                <a:rPr lang="sk-SK" dirty="0"/>
                <a:t> </a:t>
              </a:r>
              <a:r>
                <a:rPr lang="sk-SK" dirty="0" err="1"/>
                <a:t>vs</a:t>
              </a:r>
              <a:r>
                <a:rPr lang="sk-SK" dirty="0"/>
                <a:t> </a:t>
              </a:r>
              <a:r>
                <a:rPr lang="sk-SK" dirty="0" err="1"/>
                <a:t>electricity</a:t>
              </a:r>
              <a:r>
                <a:rPr lang="sk-SK" dirty="0"/>
                <a:t> </a:t>
              </a:r>
              <a:r>
                <a:rPr lang="sk-SK" dirty="0" err="1"/>
                <a:t>price</a:t>
              </a:r>
              <a:endParaRPr lang="en-GB" dirty="0"/>
            </a:p>
          </p:txBody>
        </p:sp>
        <p:cxnSp>
          <p:nvCxnSpPr>
            <p:cNvPr id="10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pic>
        <p:nvPicPr>
          <p:cNvPr id="2" name="Obrázo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65471" y="1465151"/>
            <a:ext cx="4411795" cy="2971963"/>
          </a:xfrm>
          <a:prstGeom prst="rect">
            <a:avLst/>
          </a:prstGeom>
        </p:spPr>
      </p:pic>
      <p:pic>
        <p:nvPicPr>
          <p:cNvPr id="11" name="Obrázok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75055" y="1465151"/>
            <a:ext cx="3751832" cy="3067051"/>
          </a:xfrm>
          <a:prstGeom prst="rect">
            <a:avLst/>
          </a:prstGeom>
        </p:spPr>
      </p:pic>
      <p:grpSp>
        <p:nvGrpSpPr>
          <p:cNvPr id="24" name="Group 17"/>
          <p:cNvGrpSpPr/>
          <p:nvPr/>
        </p:nvGrpSpPr>
        <p:grpSpPr bwMode="gray">
          <a:xfrm>
            <a:off x="6375055" y="1121121"/>
            <a:ext cx="4170356" cy="276792"/>
            <a:chOff x="317500" y="1197758"/>
            <a:chExt cx="3922623" cy="130988"/>
          </a:xfrm>
        </p:grpSpPr>
        <p:sp>
          <p:nvSpPr>
            <p:cNvPr id="25" name="TextBox 18"/>
            <p:cNvSpPr txBox="1"/>
            <p:nvPr/>
          </p:nvSpPr>
          <p:spPr bwMode="gray">
            <a:xfrm>
              <a:off x="317500" y="1197758"/>
              <a:ext cx="3922623" cy="87391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kern="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LF_Kai"/>
                  <a:cs typeface="Arial" panose="020B0604020202020204" pitchFamily="34" charset="0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sk-SK" dirty="0" err="1"/>
                <a:t>Natural</a:t>
              </a:r>
              <a:r>
                <a:rPr lang="sk-SK" dirty="0"/>
                <a:t> </a:t>
              </a:r>
              <a:r>
                <a:rPr lang="sk-SK" dirty="0" err="1"/>
                <a:t>gas</a:t>
              </a:r>
              <a:r>
                <a:rPr lang="sk-SK" dirty="0"/>
                <a:t> </a:t>
              </a:r>
              <a:r>
                <a:rPr lang="sk-SK" dirty="0" err="1"/>
                <a:t>contracts</a:t>
              </a:r>
              <a:r>
                <a:rPr lang="sk-SK" dirty="0"/>
                <a:t> (</a:t>
              </a:r>
              <a:r>
                <a:rPr lang="sk-SK" dirty="0" err="1"/>
                <a:t>TTF</a:t>
              </a:r>
              <a:r>
                <a:rPr lang="sk-SK" dirty="0"/>
                <a:t> – EUR/MWh)</a:t>
              </a:r>
              <a:endParaRPr lang="en-GB" dirty="0"/>
            </a:p>
          </p:txBody>
        </p:sp>
        <p:cxnSp>
          <p:nvCxnSpPr>
            <p:cNvPr id="26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sp>
        <p:nvSpPr>
          <p:cNvPr id="27" name="Zástupný objekt pre obsah 3"/>
          <p:cNvSpPr txBox="1">
            <a:spLocks/>
          </p:cNvSpPr>
          <p:nvPr/>
        </p:nvSpPr>
        <p:spPr>
          <a:xfrm>
            <a:off x="1841822" y="4944834"/>
            <a:ext cx="8703597" cy="830997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268288" indent="-27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anose="05000000000000000000" pitchFamily="2" charset="2"/>
              <a:buChar char="q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  <a:lvl2pPr marL="43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2pPr>
            <a:lvl3pPr marL="61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 lang="en-US"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3pPr>
            <a:lvl4pPr marL="828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lang="en-US"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4pPr>
            <a:lvl5pPr marL="1044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France usually exports the excess electricity it produces. But this year it has become a net importer, meaning that neighbouring countries are burning additional gas to generate electricity for France just as Europe is otherwise trying to conserve supplies for the winter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53425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47852" y="364153"/>
            <a:ext cx="8489951" cy="369332"/>
          </a:xfrm>
        </p:spPr>
        <p:txBody>
          <a:bodyPr/>
          <a:lstStyle/>
          <a:p>
            <a:r>
              <a:rPr lang="sk-SK" dirty="0" err="1"/>
              <a:t>European</a:t>
            </a:r>
            <a:r>
              <a:rPr lang="sk-SK" dirty="0"/>
              <a:t> </a:t>
            </a:r>
            <a:r>
              <a:rPr lang="sk-SK" dirty="0" err="1"/>
              <a:t>gas</a:t>
            </a:r>
            <a:r>
              <a:rPr lang="sk-SK" dirty="0"/>
              <a:t> </a:t>
            </a:r>
            <a:r>
              <a:rPr lang="sk-SK" dirty="0" err="1"/>
              <a:t>balance</a:t>
            </a:r>
            <a:r>
              <a:rPr lang="sk-SK" dirty="0"/>
              <a:t> (</a:t>
            </a:r>
            <a:r>
              <a:rPr lang="sk-SK" dirty="0" err="1"/>
              <a:t>YTD</a:t>
            </a:r>
            <a:r>
              <a:rPr lang="sk-SK" dirty="0"/>
              <a:t> = 1/1/2022 – 31/8/2022</a:t>
            </a:r>
            <a:endParaRPr lang="en-GB" dirty="0"/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grpSp>
        <p:nvGrpSpPr>
          <p:cNvPr id="7" name="Group 17"/>
          <p:cNvGrpSpPr/>
          <p:nvPr/>
        </p:nvGrpSpPr>
        <p:grpSpPr bwMode="gray">
          <a:xfrm>
            <a:off x="1862271" y="1146034"/>
            <a:ext cx="8482211" cy="251899"/>
            <a:chOff x="317500" y="1165393"/>
            <a:chExt cx="3922623" cy="163353"/>
          </a:xfrm>
        </p:grpSpPr>
        <p:sp>
          <p:nvSpPr>
            <p:cNvPr id="9" name="TextBox 18"/>
            <p:cNvSpPr txBox="1"/>
            <p:nvPr/>
          </p:nvSpPr>
          <p:spPr bwMode="gray">
            <a:xfrm>
              <a:off x="317500" y="1165393"/>
              <a:ext cx="3922623" cy="119753"/>
            </a:xfrm>
            <a:prstGeom prst="rect">
              <a:avLst/>
            </a:prstGeom>
            <a:noFill/>
            <a:ln w="9525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0" tIns="0" rIns="0" bIns="0" rtlCol="0" anchor="b">
              <a:spAutoFit/>
            </a:bodyPr>
            <a:lstStyle>
              <a:defPPr>
                <a:defRPr lang="en-US"/>
              </a:defPPr>
              <a:lvl1pPr indent="0">
                <a:spcBef>
                  <a:spcPts val="600"/>
                </a:spcBef>
                <a:buClr>
                  <a:srgbClr val="A00730"/>
                </a:buClr>
                <a:buFontTx/>
                <a:buNone/>
                <a:defRPr sz="1200" b="1" kern="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LF_Kai"/>
                  <a:cs typeface="Arial" panose="020B0604020202020204" pitchFamily="34" charset="0"/>
                </a:defRPr>
              </a:lvl1pPr>
              <a:lvl2pPr marL="43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2pPr>
              <a:lvl3pPr marL="612000" indent="-180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1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defRPr>
              </a:lvl3pPr>
              <a:lvl4pPr marL="828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10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4pPr>
              <a:lvl5pPr marL="1044000" indent="-216000">
                <a:spcBef>
                  <a:spcPts val="600"/>
                </a:spcBef>
                <a:buClr>
                  <a:srgbClr val="A00730"/>
                </a:buClr>
                <a:buFont typeface="Wingdings" pitchFamily="2" charset="2"/>
                <a:buChar char="q"/>
                <a:defRPr sz="9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dirty="0"/>
                <a:t>European consumption 2022 could be around 534 </a:t>
              </a:r>
              <a:r>
                <a:rPr lang="en-US" dirty="0" err="1"/>
                <a:t>bcm</a:t>
              </a:r>
              <a:r>
                <a:rPr lang="en-US" dirty="0"/>
                <a:t> </a:t>
              </a:r>
              <a:endParaRPr lang="en-GB" dirty="0"/>
            </a:p>
          </p:txBody>
        </p:sp>
        <p:cxnSp>
          <p:nvCxnSpPr>
            <p:cNvPr id="10" name="Straight Connector 20"/>
            <p:cNvCxnSpPr/>
            <p:nvPr/>
          </p:nvCxnSpPr>
          <p:spPr bwMode="gray">
            <a:xfrm>
              <a:off x="317500" y="1328746"/>
              <a:ext cx="3922623" cy="0"/>
            </a:xfrm>
            <a:prstGeom prst="line">
              <a:avLst/>
            </a:prstGeom>
            <a:noFill/>
            <a:ln w="19050" cap="flat" cmpd="sng" algn="ctr">
              <a:solidFill>
                <a:srgbClr val="A00730"/>
              </a:solidFill>
              <a:prstDash val="solid"/>
            </a:ln>
            <a:effectLst/>
          </p:spPr>
        </p:cxnSp>
      </p:grpSp>
      <p:sp>
        <p:nvSpPr>
          <p:cNvPr id="11" name="Zástupný objekt pre obsah 3"/>
          <p:cNvSpPr txBox="1">
            <a:spLocks/>
          </p:cNvSpPr>
          <p:nvPr/>
        </p:nvSpPr>
        <p:spPr>
          <a:xfrm>
            <a:off x="1841823" y="4293098"/>
            <a:ext cx="4326195" cy="1554272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268288" indent="-27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anose="05000000000000000000" pitchFamily="2" charset="2"/>
              <a:buChar char="q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  <a:lvl2pPr marL="43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§"/>
              <a:defRPr lang="en-US"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2pPr>
            <a:lvl3pPr marL="612000" indent="-180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Courier New" pitchFamily="49" charset="0"/>
              <a:buChar char="o"/>
              <a:defRPr lang="en-US"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3pPr>
            <a:lvl4pPr marL="828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Arial" pitchFamily="34" charset="0"/>
              <a:buChar char="•"/>
              <a:defRPr lang="en-US"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4pPr>
            <a:lvl5pPr marL="1044000" indent="-216000" algn="l" defTabSz="914400" rtl="0" eaLnBrk="1" latinLnBrk="0" hangingPunct="1">
              <a:spcBef>
                <a:spcPts val="600"/>
              </a:spcBef>
              <a:buClr>
                <a:srgbClr val="A00730"/>
              </a:buClr>
              <a:buFont typeface="Wingdings" pitchFamily="2" charset="2"/>
              <a:buChar char="q"/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EU storage fullness at 89,3% (3.10.2022)</a:t>
            </a:r>
          </a:p>
          <a:p>
            <a:r>
              <a:rPr lang="en-US" sz="1600" dirty="0"/>
              <a:t>Other countries can well absorb the portion of natural gas saved by Europe</a:t>
            </a:r>
          </a:p>
          <a:p>
            <a:endParaRPr lang="en-US" sz="1600" dirty="0"/>
          </a:p>
          <a:p>
            <a:endParaRPr lang="sk-SK" sz="1600" dirty="0"/>
          </a:p>
        </p:txBody>
      </p:sp>
      <p:graphicFrame>
        <p:nvGraphicFramePr>
          <p:cNvPr id="14" name="Tabuľk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729256"/>
              </p:ext>
            </p:extLst>
          </p:nvPr>
        </p:nvGraphicFramePr>
        <p:xfrm>
          <a:off x="1862271" y="1503175"/>
          <a:ext cx="8475541" cy="2213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9005">
                  <a:extLst>
                    <a:ext uri="{9D8B030D-6E8A-4147-A177-3AD203B41FA5}">
                      <a16:colId xmlns:a16="http://schemas.microsoft.com/office/drawing/2014/main" val="2606362550"/>
                    </a:ext>
                  </a:extLst>
                </a:gridCol>
                <a:gridCol w="1258959">
                  <a:extLst>
                    <a:ext uri="{9D8B030D-6E8A-4147-A177-3AD203B41FA5}">
                      <a16:colId xmlns:a16="http://schemas.microsoft.com/office/drawing/2014/main" val="1319072681"/>
                    </a:ext>
                  </a:extLst>
                </a:gridCol>
                <a:gridCol w="877807">
                  <a:extLst>
                    <a:ext uri="{9D8B030D-6E8A-4147-A177-3AD203B41FA5}">
                      <a16:colId xmlns:a16="http://schemas.microsoft.com/office/drawing/2014/main" val="3419255415"/>
                    </a:ext>
                  </a:extLst>
                </a:gridCol>
                <a:gridCol w="924007">
                  <a:extLst>
                    <a:ext uri="{9D8B030D-6E8A-4147-A177-3AD203B41FA5}">
                      <a16:colId xmlns:a16="http://schemas.microsoft.com/office/drawing/2014/main" val="494654624"/>
                    </a:ext>
                  </a:extLst>
                </a:gridCol>
                <a:gridCol w="935557">
                  <a:extLst>
                    <a:ext uri="{9D8B030D-6E8A-4147-A177-3AD203B41FA5}">
                      <a16:colId xmlns:a16="http://schemas.microsoft.com/office/drawing/2014/main" val="1111302700"/>
                    </a:ext>
                  </a:extLst>
                </a:gridCol>
                <a:gridCol w="900905">
                  <a:extLst>
                    <a:ext uri="{9D8B030D-6E8A-4147-A177-3AD203B41FA5}">
                      <a16:colId xmlns:a16="http://schemas.microsoft.com/office/drawing/2014/main" val="2152656501"/>
                    </a:ext>
                  </a:extLst>
                </a:gridCol>
                <a:gridCol w="947107">
                  <a:extLst>
                    <a:ext uri="{9D8B030D-6E8A-4147-A177-3AD203B41FA5}">
                      <a16:colId xmlns:a16="http://schemas.microsoft.com/office/drawing/2014/main" val="1493886140"/>
                    </a:ext>
                  </a:extLst>
                </a:gridCol>
                <a:gridCol w="900907">
                  <a:extLst>
                    <a:ext uri="{9D8B030D-6E8A-4147-A177-3AD203B41FA5}">
                      <a16:colId xmlns:a16="http://schemas.microsoft.com/office/drawing/2014/main" val="3584302367"/>
                    </a:ext>
                  </a:extLst>
                </a:gridCol>
                <a:gridCol w="1171287">
                  <a:extLst>
                    <a:ext uri="{9D8B030D-6E8A-4147-A177-3AD203B41FA5}">
                      <a16:colId xmlns:a16="http://schemas.microsoft.com/office/drawing/2014/main" val="2059109369"/>
                    </a:ext>
                  </a:extLst>
                </a:gridCol>
              </a:tblGrid>
              <a:tr h="4362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yea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 Consumption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Indig</a:t>
                      </a:r>
                      <a:r>
                        <a:rPr lang="en-US" sz="1100" u="none" strike="noStrike" dirty="0">
                          <a:effectLst/>
                        </a:rPr>
                        <a:t>. Prod.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Norway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N. Africa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Other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(AZ, IR)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LNG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Russia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 Storage to Consumption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50045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29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5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3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5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6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  (0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190292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54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5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0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4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5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8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   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3303246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81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4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3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6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204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  (4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2344272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70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3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3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6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20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  (5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9466980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76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3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2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20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(27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081206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2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569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26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1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75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     9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544591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              604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0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1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39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27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0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7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    3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5656637"/>
                  </a:ext>
                </a:extLst>
              </a:tr>
              <a:tr h="22219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22*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              346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71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8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23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22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108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          70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               (28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1" marR="6351" marT="635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781305"/>
                  </a:ext>
                </a:extLst>
              </a:tr>
            </a:tbl>
          </a:graphicData>
        </a:graphic>
      </p:graphicFrame>
      <p:sp>
        <p:nvSpPr>
          <p:cNvPr id="15" name="BlokTextu 14"/>
          <p:cNvSpPr txBox="1"/>
          <p:nvPr/>
        </p:nvSpPr>
        <p:spPr>
          <a:xfrm>
            <a:off x="1991554" y="3822300"/>
            <a:ext cx="48209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* 2022 – YTD as of 31/8/2022</a:t>
            </a:r>
            <a:endParaRPr lang="cs-CZ" sz="1000" i="1" dirty="0"/>
          </a:p>
        </p:txBody>
      </p:sp>
      <p:pic>
        <p:nvPicPr>
          <p:cNvPr id="1675270" name="Picture 6" descr="https://upload.wikimedia.org/wikipedia/commons/thumb/3/38/China-electricity-prod-source-stacked.svg/1280px-China-electricity-prod-source-stacked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043" y="3818302"/>
            <a:ext cx="3877363" cy="2738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241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47852" y="364153"/>
            <a:ext cx="8489951" cy="369332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Russian flows </a:t>
            </a:r>
            <a:r>
              <a:rPr lang="en-US" dirty="0"/>
              <a:t>influencing European gas prices</a:t>
            </a:r>
            <a:endParaRPr lang="en-GB" dirty="0"/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graphicFrame>
        <p:nvGraphicFramePr>
          <p:cNvPr id="30" name="Graf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6477307"/>
              </p:ext>
            </p:extLst>
          </p:nvPr>
        </p:nvGraphicFramePr>
        <p:xfrm>
          <a:off x="5954712" y="3701668"/>
          <a:ext cx="4405261" cy="2379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1" name="Graf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8437511"/>
              </p:ext>
            </p:extLst>
          </p:nvPr>
        </p:nvGraphicFramePr>
        <p:xfrm>
          <a:off x="1703512" y="1268761"/>
          <a:ext cx="3999688" cy="2406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" name="Ovál 32"/>
          <p:cNvSpPr/>
          <p:nvPr/>
        </p:nvSpPr>
        <p:spPr>
          <a:xfrm>
            <a:off x="4267802" y="1607503"/>
            <a:ext cx="945931" cy="1502979"/>
          </a:xfrm>
          <a:prstGeom prst="ellipse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Šípka nadol 33"/>
          <p:cNvSpPr/>
          <p:nvPr/>
        </p:nvSpPr>
        <p:spPr>
          <a:xfrm rot="1956375">
            <a:off x="4121835" y="3063487"/>
            <a:ext cx="291935" cy="77145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5" name="Graf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9952981"/>
              </p:ext>
            </p:extLst>
          </p:nvPr>
        </p:nvGraphicFramePr>
        <p:xfrm>
          <a:off x="1700877" y="3701668"/>
          <a:ext cx="4002333" cy="2379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6" name="BlokTextu 1"/>
          <p:cNvSpPr txBox="1"/>
          <p:nvPr/>
        </p:nvSpPr>
        <p:spPr>
          <a:xfrm>
            <a:off x="8959027" y="5007088"/>
            <a:ext cx="1400939" cy="426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i="1" dirty="0">
                <a:solidFill>
                  <a:srgbClr val="C00000"/>
                </a:solidFill>
              </a:rPr>
              <a:t>GPE avg. daily Revenues</a:t>
            </a:r>
          </a:p>
          <a:p>
            <a:pPr algn="ctr"/>
            <a:r>
              <a:rPr lang="en-US" sz="1000" i="1" dirty="0">
                <a:solidFill>
                  <a:srgbClr val="C00000"/>
                </a:solidFill>
              </a:rPr>
              <a:t>2017-2021</a:t>
            </a:r>
            <a:endParaRPr lang="cs-CZ" sz="1000" i="1" dirty="0">
              <a:solidFill>
                <a:srgbClr val="C00000"/>
              </a:solidFill>
            </a:endParaRPr>
          </a:p>
        </p:txBody>
      </p:sp>
      <p:sp>
        <p:nvSpPr>
          <p:cNvPr id="37" name="BlokTextu 1"/>
          <p:cNvSpPr txBox="1"/>
          <p:nvPr/>
        </p:nvSpPr>
        <p:spPr>
          <a:xfrm>
            <a:off x="6731869" y="4678068"/>
            <a:ext cx="1400939" cy="426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i="1" dirty="0">
                <a:solidFill>
                  <a:srgbClr val="C00000"/>
                </a:solidFill>
              </a:rPr>
              <a:t>GPE current Revenues</a:t>
            </a:r>
            <a:endParaRPr lang="cs-CZ" sz="1000" i="1" dirty="0">
              <a:solidFill>
                <a:srgbClr val="C00000"/>
              </a:solidFill>
            </a:endParaRPr>
          </a:p>
        </p:txBody>
      </p:sp>
      <p:graphicFrame>
        <p:nvGraphicFramePr>
          <p:cNvPr id="38" name="Graf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0744873"/>
              </p:ext>
            </p:extLst>
          </p:nvPr>
        </p:nvGraphicFramePr>
        <p:xfrm>
          <a:off x="5947909" y="1207956"/>
          <a:ext cx="3820500" cy="2466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6002909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>
            <p:custDataLst>
              <p:tags r:id="rId2"/>
            </p:custDataLst>
          </p:nvPr>
        </p:nvSpPr>
        <p:spPr>
          <a:xfrm>
            <a:off x="1524003" y="3"/>
            <a:ext cx="158751" cy="1587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870016" y="172783"/>
            <a:ext cx="8489951" cy="738664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Projection of Natural gas consumption in Europe</a:t>
            </a:r>
            <a:br>
              <a:rPr lang="en-US" dirty="0">
                <a:solidFill>
                  <a:srgbClr val="C00000"/>
                </a:solidFill>
              </a:rPr>
            </a:br>
            <a:r>
              <a:rPr lang="en-US" dirty="0">
                <a:solidFill>
                  <a:srgbClr val="C00000"/>
                </a:solidFill>
              </a:rPr>
              <a:t>without Russian Gas</a:t>
            </a:r>
            <a:endParaRPr lang="en-GB" dirty="0">
              <a:solidFill>
                <a:srgbClr val="C00000"/>
              </a:solidFill>
            </a:endParaRPr>
          </a:p>
        </p:txBody>
      </p:sp>
      <p:pic>
        <p:nvPicPr>
          <p:cNvPr id="18" name="Obrázo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8" y="245663"/>
            <a:ext cx="1065035" cy="504612"/>
          </a:xfrm>
          <a:prstGeom prst="rect">
            <a:avLst/>
          </a:prstGeom>
        </p:spPr>
      </p:pic>
      <p:sp>
        <p:nvSpPr>
          <p:cNvPr id="14" name="Zástupný objekt pre číslo snímky 3"/>
          <p:cNvSpPr txBox="1">
            <a:spLocks/>
          </p:cNvSpPr>
          <p:nvPr/>
        </p:nvSpPr>
        <p:spPr>
          <a:xfrm>
            <a:off x="13555873" y="5426372"/>
            <a:ext cx="10525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SK"/>
            </a:defPPr>
            <a:lvl1pPr marL="0" algn="r" defTabSz="914400" rtl="0" eaLnBrk="1" latinLnBrk="0" hangingPunct="1">
              <a:defRPr sz="9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B402C69-2117-4DDB-8C6E-94EFD5228EE4}" type="slidenum">
              <a:rPr lang="sk-SK"/>
              <a:pPr/>
              <a:t>8</a:t>
            </a:fld>
            <a:endParaRPr lang="sk-SK" dirty="0"/>
          </a:p>
        </p:txBody>
      </p:sp>
      <p:sp>
        <p:nvSpPr>
          <p:cNvPr id="15" name="Obdĺžnik 14"/>
          <p:cNvSpPr/>
          <p:nvPr/>
        </p:nvSpPr>
        <p:spPr>
          <a:xfrm>
            <a:off x="2135570" y="5017228"/>
            <a:ext cx="806401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/>
              <a:t>2022-24</a:t>
            </a:r>
            <a:r>
              <a:rPr lang="en-US" sz="1200" dirty="0"/>
              <a:t> – full replacement of RU gas is not possible without demand destruction;</a:t>
            </a:r>
          </a:p>
          <a:p>
            <a:pPr>
              <a:spcBef>
                <a:spcPts val="600"/>
              </a:spcBef>
            </a:pPr>
            <a:r>
              <a:rPr lang="en-US" sz="1200" b="1" dirty="0"/>
              <a:t>2025-2026</a:t>
            </a:r>
            <a:r>
              <a:rPr lang="en-US" sz="1200" dirty="0"/>
              <a:t> – provided the construction of suitable infrastructure, it is possible to cover the natural gas reduced need even without Russian supplies. However, a sufficient LNG supply on global market and supply swaps of Norwegian / N. African gas between European countries is a prerequisite.</a:t>
            </a:r>
          </a:p>
          <a:p>
            <a:pPr>
              <a:spcBef>
                <a:spcPts val="600"/>
              </a:spcBef>
            </a:pPr>
            <a:r>
              <a:rPr lang="en-US" sz="1200" b="1" dirty="0"/>
              <a:t>In the near future, the Russian gas supply disruption does not appear to be a possible alternative for Europe due to LNG limitations on:</a:t>
            </a:r>
          </a:p>
          <a:p>
            <a:pPr marL="357179" lvl="1" indent="-28574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b="1" dirty="0"/>
              <a:t>liquefaction production, shipment capacities, infrastructure capacities</a:t>
            </a:r>
            <a:endParaRPr lang="en-US" sz="1200" dirty="0"/>
          </a:p>
        </p:txBody>
      </p:sp>
      <p:graphicFrame>
        <p:nvGraphicFramePr>
          <p:cNvPr id="16" name="Graf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9093858"/>
              </p:ext>
            </p:extLst>
          </p:nvPr>
        </p:nvGraphicFramePr>
        <p:xfrm>
          <a:off x="1750510" y="1087672"/>
          <a:ext cx="2176635" cy="3166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Graf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8938814"/>
              </p:ext>
            </p:extLst>
          </p:nvPr>
        </p:nvGraphicFramePr>
        <p:xfrm>
          <a:off x="3471122" y="1042305"/>
          <a:ext cx="6888851" cy="3898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9" name="Obdĺžnik 18"/>
          <p:cNvSpPr/>
          <p:nvPr/>
        </p:nvSpPr>
        <p:spPr>
          <a:xfrm rot="10800000">
            <a:off x="8184241" y="3064385"/>
            <a:ext cx="1368149" cy="278688"/>
          </a:xfrm>
          <a:prstGeom prst="rect">
            <a:avLst/>
          </a:prstGeom>
          <a:solidFill>
            <a:srgbClr val="00B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BlokTextu 19"/>
          <p:cNvSpPr txBox="1"/>
          <p:nvPr/>
        </p:nvSpPr>
        <p:spPr>
          <a:xfrm>
            <a:off x="6441651" y="3435052"/>
            <a:ext cx="288438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rgbClr val="00B050"/>
                </a:solidFill>
              </a:rPr>
              <a:t>New eff. lique. coming online 2022-23 = +16 bcm</a:t>
            </a:r>
            <a:endParaRPr lang="cs-CZ" sz="700" i="1" dirty="0">
              <a:solidFill>
                <a:srgbClr val="00B050"/>
              </a:solidFill>
            </a:endParaRPr>
          </a:p>
        </p:txBody>
      </p:sp>
      <p:sp>
        <p:nvSpPr>
          <p:cNvPr id="21" name="Obdĺžnik 20"/>
          <p:cNvSpPr/>
          <p:nvPr/>
        </p:nvSpPr>
        <p:spPr>
          <a:xfrm rot="10800000">
            <a:off x="9552386" y="2721115"/>
            <a:ext cx="187603" cy="289632"/>
          </a:xfrm>
          <a:prstGeom prst="rect">
            <a:avLst/>
          </a:prstGeom>
          <a:solidFill>
            <a:srgbClr val="00B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Obdĺžnik 21"/>
          <p:cNvSpPr/>
          <p:nvPr/>
        </p:nvSpPr>
        <p:spPr>
          <a:xfrm rot="10800000">
            <a:off x="9692031" y="2296325"/>
            <a:ext cx="187603" cy="348741"/>
          </a:xfrm>
          <a:prstGeom prst="rect">
            <a:avLst/>
          </a:prstGeom>
          <a:solidFill>
            <a:srgbClr val="00B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Obdĺžnik 22"/>
          <p:cNvSpPr/>
          <p:nvPr/>
        </p:nvSpPr>
        <p:spPr>
          <a:xfrm rot="10800000">
            <a:off x="9831677" y="1518725"/>
            <a:ext cx="187603" cy="638373"/>
          </a:xfrm>
          <a:prstGeom prst="rect">
            <a:avLst/>
          </a:prstGeom>
          <a:solidFill>
            <a:srgbClr val="00B05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BlokTextu 23"/>
          <p:cNvSpPr txBox="1"/>
          <p:nvPr/>
        </p:nvSpPr>
        <p:spPr>
          <a:xfrm>
            <a:off x="9018451" y="3432110"/>
            <a:ext cx="1067868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i="1" dirty="0">
                <a:solidFill>
                  <a:srgbClr val="00B050"/>
                </a:solidFill>
              </a:rPr>
              <a:t>New eff. lique. coming online </a:t>
            </a:r>
          </a:p>
          <a:p>
            <a:pPr algn="ctr"/>
            <a:r>
              <a:rPr lang="en-US" sz="700" i="1" dirty="0">
                <a:solidFill>
                  <a:srgbClr val="00B050"/>
                </a:solidFill>
              </a:rPr>
              <a:t>2024 = +36 bcm</a:t>
            </a:r>
          </a:p>
          <a:p>
            <a:pPr algn="ctr"/>
            <a:r>
              <a:rPr lang="en-US" sz="700" i="1" dirty="0">
                <a:solidFill>
                  <a:srgbClr val="00B050"/>
                </a:solidFill>
              </a:rPr>
              <a:t>2025 = +44 bcm</a:t>
            </a:r>
          </a:p>
          <a:p>
            <a:pPr algn="ctr"/>
            <a:r>
              <a:rPr lang="en-US" sz="700" i="1" dirty="0">
                <a:solidFill>
                  <a:srgbClr val="00B050"/>
                </a:solidFill>
              </a:rPr>
              <a:t>2026 = + 80 bcm</a:t>
            </a:r>
            <a:endParaRPr lang="cs-CZ" sz="700" i="1" dirty="0">
              <a:solidFill>
                <a:srgbClr val="00B050"/>
              </a:solidFill>
            </a:endParaRPr>
          </a:p>
        </p:txBody>
      </p:sp>
      <p:sp>
        <p:nvSpPr>
          <p:cNvPr id="25" name="BlokTextu 24"/>
          <p:cNvSpPr txBox="1"/>
          <p:nvPr/>
        </p:nvSpPr>
        <p:spPr>
          <a:xfrm>
            <a:off x="6446014" y="3819935"/>
            <a:ext cx="295051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i="1" u="sng" dirty="0">
                <a:solidFill>
                  <a:srgbClr val="00B050"/>
                </a:solidFill>
              </a:rPr>
              <a:t>Cumm. Eff. Lique. Cap. up to 2026 = 176 bcm</a:t>
            </a:r>
            <a:endParaRPr lang="cs-CZ" sz="700" b="1" i="1" u="sng" dirty="0">
              <a:solidFill>
                <a:srgbClr val="00B050"/>
              </a:solidFill>
            </a:endParaRPr>
          </a:p>
        </p:txBody>
      </p:sp>
      <p:sp>
        <p:nvSpPr>
          <p:cNvPr id="26" name="BlokTextu 1"/>
          <p:cNvSpPr txBox="1"/>
          <p:nvPr/>
        </p:nvSpPr>
        <p:spPr>
          <a:xfrm>
            <a:off x="5822319" y="2212886"/>
            <a:ext cx="1734244" cy="22785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i="1" dirty="0">
                <a:solidFill>
                  <a:srgbClr val="0070C0"/>
                </a:solidFill>
              </a:rPr>
              <a:t>Reduced Consumption</a:t>
            </a:r>
            <a:endParaRPr lang="cs-CZ" sz="1000" i="1" dirty="0">
              <a:solidFill>
                <a:srgbClr val="0070C0"/>
              </a:solidFill>
            </a:endParaRPr>
          </a:p>
        </p:txBody>
      </p:sp>
      <p:sp>
        <p:nvSpPr>
          <p:cNvPr id="27" name="BlokTextu 1"/>
          <p:cNvSpPr txBox="1"/>
          <p:nvPr/>
        </p:nvSpPr>
        <p:spPr>
          <a:xfrm>
            <a:off x="5685168" y="1732639"/>
            <a:ext cx="2113505" cy="22785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i="1" dirty="0"/>
              <a:t>5y avg. Consumption</a:t>
            </a:r>
            <a:endParaRPr lang="cs-CZ" sz="1000" i="1" dirty="0"/>
          </a:p>
        </p:txBody>
      </p:sp>
    </p:spTree>
    <p:extLst>
      <p:ext uri="{BB962C8B-B14F-4D97-AF65-F5344CB8AC3E}">
        <p14:creationId xmlns:p14="http://schemas.microsoft.com/office/powerpoint/2010/main" val="1211864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5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strFormatTime&gt;%d/%m/%Y&lt;/m_strFormatTime&gt;&lt;/m_precDefaultDate&gt;&lt;m_precDefaultYear/&gt;&lt;m_precDefaultQuarter/&gt;&lt;m_precDefaultMonth/&gt;&lt;m_precDefaultWeek/&gt;&lt;m_precDefaultDay/&gt;&lt;m_mruColor&gt;&lt;m_vecMRU length=&quot;4&quot;&gt;&lt;elem m_fUsage=&quot;1.38510000000000000000E+000&quot;&gt;&lt;m_ppcolschidx val=&quot;0&quot;/&gt;&lt;m_rgb r=&quot;e8&quot; g=&quot;ad&quot; b=&quot;ac&quot;/&gt;&lt;m_nBrightness val=&quot;0&quot;/&gt;&lt;/elem&gt;&lt;elem m_fUsage=&quot;1.00000000000000000000E+000&quot;&gt;&lt;m_ppcolschidx val=&quot;0&quot;/&gt;&lt;m_rgb r=&quot;fa&quot; g=&quot;df&quot; b=&quot;b8&quot;/&gt;&lt;m_nBrightness val=&quot;0&quot;/&gt;&lt;/elem&gt;&lt;elem m_fUsage=&quot;9.00000000000000020000E-001&quot;&gt;&lt;m_ppcolschidx val=&quot;0&quot;/&gt;&lt;m_rgb r=&quot;d6&quot; g=&quot;6f&quot; b=&quot;6b&quot;/&gt;&lt;m_nBrightness val=&quot;0&quot;/&gt;&lt;/elem&gt;&lt;elem m_fUsage=&quot;8.10000000000000050000E-001&quot;&gt;&lt;m_ppcolschidx val=&quot;0&quot;/&gt;&lt;m_rgb r=&quot;e6&quot; g=&quot;6b&quot; b=&quot;4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C9Fv_oQD6b7jZCM4vd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GsHovBS_KVIBiSb6js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qesrllHUzHlh4LmEzo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E5yiv0W.bWR7NNFKfw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EPH Template">
  <a:themeElements>
    <a:clrScheme name="Custom 2">
      <a:dk1>
        <a:sysClr val="windowText" lastClr="000000"/>
      </a:dk1>
      <a:lt1>
        <a:sysClr val="window" lastClr="FFFFFF"/>
      </a:lt1>
      <a:dk2>
        <a:srgbClr val="3E3E3E"/>
      </a:dk2>
      <a:lt2>
        <a:srgbClr val="000000"/>
      </a:lt2>
      <a:accent1>
        <a:srgbClr val="71152D"/>
      </a:accent1>
      <a:accent2>
        <a:srgbClr val="000000"/>
      </a:accent2>
      <a:accent3>
        <a:srgbClr val="C5244D"/>
      </a:accent3>
      <a:accent4>
        <a:srgbClr val="A6A6A6"/>
      </a:accent4>
      <a:accent5>
        <a:srgbClr val="F597AF"/>
      </a:accent5>
      <a:accent6>
        <a:srgbClr val="EEEFEF"/>
      </a:accent6>
      <a:hlink>
        <a:srgbClr val="009CC3"/>
      </a:hlink>
      <a:folHlink>
        <a:srgbClr val="9BECFF"/>
      </a:folHlink>
    </a:clrScheme>
    <a:fontScheme name="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>
                <a:lumMod val="7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45720" rIns="0" bIns="45720" rtlCol="0">
        <a:spAutoFit/>
      </a:bodyPr>
      <a:lstStyle>
        <a:defPPr>
          <a:defRPr sz="1600" dirty="0" smtClean="0">
            <a:latin typeface="Aria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roject Infinity_Analyst Presentation_vDRAFT_v40 zk">
  <a:themeElements>
    <a:clrScheme name="Infrastructure-1">
      <a:dk1>
        <a:sysClr val="windowText" lastClr="000000"/>
      </a:dk1>
      <a:lt1>
        <a:sysClr val="window" lastClr="FFFFFF"/>
      </a:lt1>
      <a:dk2>
        <a:srgbClr val="000000"/>
      </a:dk2>
      <a:lt2>
        <a:srgbClr val="000000"/>
      </a:lt2>
      <a:accent1>
        <a:srgbClr val="71152D"/>
      </a:accent1>
      <a:accent2>
        <a:srgbClr val="000000"/>
      </a:accent2>
      <a:accent3>
        <a:srgbClr val="C5244D"/>
      </a:accent3>
      <a:accent4>
        <a:srgbClr val="A6A6A6"/>
      </a:accent4>
      <a:accent5>
        <a:srgbClr val="F597AF"/>
      </a:accent5>
      <a:accent6>
        <a:srgbClr val="EEEFEF"/>
      </a:accent6>
      <a:hlink>
        <a:srgbClr val="009CC3"/>
      </a:hlink>
      <a:folHlink>
        <a:srgbClr val="9BECFF"/>
      </a:folHlink>
    </a:clrScheme>
    <a:fontScheme name="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dirty="0" err="1" smtClean="0">
            <a:solidFill>
              <a:schemeClr val="tx1">
                <a:lumMod val="7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45720" rIns="0" bIns="45720" rtlCol="0">
        <a:spAutoFit/>
      </a:bodyPr>
      <a:lstStyle>
        <a:defPPr>
          <a:defRPr sz="1600" dirty="0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89078</TotalTime>
  <Words>670</Words>
  <Application>Microsoft Office PowerPoint</Application>
  <PresentationFormat>Widescreen</PresentationFormat>
  <Paragraphs>153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ourier New</vt:lpstr>
      <vt:lpstr>Gill Sans Ultra Bold Condensed</vt:lpstr>
      <vt:lpstr>Tahoma</vt:lpstr>
      <vt:lpstr>Wingdings</vt:lpstr>
      <vt:lpstr>16_EPH Template</vt:lpstr>
      <vt:lpstr>Project Infinity_Analyst Presentation_vDRAFT_v40 zk</vt:lpstr>
      <vt:lpstr>think-cell Slide</vt:lpstr>
      <vt:lpstr>PowerPoint Presentation</vt:lpstr>
      <vt:lpstr>Introduction</vt:lpstr>
      <vt:lpstr>EU electricity production by source</vt:lpstr>
      <vt:lpstr>EU electricity production by source</vt:lpstr>
      <vt:lpstr>Electricity price peak in summer 2022</vt:lpstr>
      <vt:lpstr>European gas balance (YTD = 1/1/2022 – 31/8/2022</vt:lpstr>
      <vt:lpstr>Russian flows influencing European gas prices</vt:lpstr>
      <vt:lpstr>Projection of Natural gas consumption in Europe without Russian G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PH</dc:creator>
  <cp:lastModifiedBy>Robin Page</cp:lastModifiedBy>
  <cp:revision>6568</cp:revision>
  <cp:lastPrinted>2018-10-18T12:54:34Z</cp:lastPrinted>
  <dcterms:created xsi:type="dcterms:W3CDTF">2011-07-13T13:42:37Z</dcterms:created>
  <dcterms:modified xsi:type="dcterms:W3CDTF">2022-10-04T14:4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OCOpt">
    <vt:lpwstr>1</vt:lpwstr>
  </property>
  <property fmtid="{D5CDD505-2E9C-101B-9397-08002B2CF9AE}" pid="3" name="PNSOpt">
    <vt:lpwstr>1s</vt:lpwstr>
  </property>
  <property fmtid="{D5CDD505-2E9C-101B-9397-08002B2CF9AE}" pid="4" name="Pitchbook Compatible">
    <vt:lpwstr>Yes</vt:lpwstr>
  </property>
</Properties>
</file>